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147376118" r:id="rId2"/>
  </p:sldIdLst>
  <p:sldSz cx="12192000" cy="6858000"/>
  <p:notesSz cx="6858000" cy="9144000"/>
  <p:defaultTextStyle>
    <a:defPPr>
      <a:defRPr lang="en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6" d="100"/>
          <a:sy n="66" d="100"/>
        </p:scale>
        <p:origin x="668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7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ina" userId="8ae98f8971f943e3" providerId="LiveId" clId="{7BA8B3C4-854D-4A8E-9AF7-3EF934675021}"/>
    <pc:docChg chg="modSld">
      <pc:chgData name="Nina" userId="8ae98f8971f943e3" providerId="LiveId" clId="{7BA8B3C4-854D-4A8E-9AF7-3EF934675021}" dt="2021-11-11T06:08:00.463" v="26" actId="20577"/>
      <pc:docMkLst>
        <pc:docMk/>
      </pc:docMkLst>
      <pc:sldChg chg="modSp mod">
        <pc:chgData name="Nina" userId="8ae98f8971f943e3" providerId="LiveId" clId="{7BA8B3C4-854D-4A8E-9AF7-3EF934675021}" dt="2021-11-11T06:08:00.463" v="26" actId="20577"/>
        <pc:sldMkLst>
          <pc:docMk/>
          <pc:sldMk cId="2484403353" sldId="2147376118"/>
        </pc:sldMkLst>
        <pc:spChg chg="mod">
          <ac:chgData name="Nina" userId="8ae98f8971f943e3" providerId="LiveId" clId="{7BA8B3C4-854D-4A8E-9AF7-3EF934675021}" dt="2021-11-11T06:08:00.463" v="26" actId="20577"/>
          <ac:spMkLst>
            <pc:docMk/>
            <pc:sldMk cId="2484403353" sldId="2147376118"/>
            <ac:spMk id="2" creationId="{681F6BA2-C156-4AD4-8ECC-3680A9DACB35}"/>
          </ac:spMkLst>
        </pc:spChg>
        <pc:spChg chg="mod">
          <ac:chgData name="Nina" userId="8ae98f8971f943e3" providerId="LiveId" clId="{7BA8B3C4-854D-4A8E-9AF7-3EF934675021}" dt="2021-11-11T06:07:36.404" v="1" actId="6549"/>
          <ac:spMkLst>
            <pc:docMk/>
            <pc:sldMk cId="2484403353" sldId="2147376118"/>
            <ac:spMk id="201" creationId="{EAC43420-521D-4B19-8FD9-12086A2ACE36}"/>
          </ac:spMkLst>
        </pc:spChg>
        <pc:spChg chg="mod">
          <ac:chgData name="Nina" userId="8ae98f8971f943e3" providerId="LiveId" clId="{7BA8B3C4-854D-4A8E-9AF7-3EF934675021}" dt="2021-11-11T06:07:39.161" v="3" actId="20577"/>
          <ac:spMkLst>
            <pc:docMk/>
            <pc:sldMk cId="2484403353" sldId="2147376118"/>
            <ac:spMk id="202" creationId="{C8D0DBD5-3144-4074-916D-03E5811F3FAA}"/>
          </ac:spMkLst>
        </pc:spChg>
        <pc:spChg chg="mod">
          <ac:chgData name="Nina" userId="8ae98f8971f943e3" providerId="LiveId" clId="{7BA8B3C4-854D-4A8E-9AF7-3EF934675021}" dt="2021-11-11T06:07:43.710" v="6" actId="20577"/>
          <ac:spMkLst>
            <pc:docMk/>
            <pc:sldMk cId="2484403353" sldId="2147376118"/>
            <ac:spMk id="203" creationId="{3548CF6A-3792-4219-9B33-890707AA57C5}"/>
          </ac:spMkLst>
        </pc:spChg>
        <pc:spChg chg="mod">
          <ac:chgData name="Nina" userId="8ae98f8971f943e3" providerId="LiveId" clId="{7BA8B3C4-854D-4A8E-9AF7-3EF934675021}" dt="2021-11-11T06:07:48.707" v="11" actId="20577"/>
          <ac:spMkLst>
            <pc:docMk/>
            <pc:sldMk cId="2484403353" sldId="2147376118"/>
            <ac:spMk id="204" creationId="{E53D70FE-8F8B-439C-A8F6-7F6BCCCF1BBC}"/>
          </ac:spMkLst>
        </pc:spChg>
        <pc:spChg chg="mod">
          <ac:chgData name="Nina" userId="8ae98f8971f943e3" providerId="LiveId" clId="{7BA8B3C4-854D-4A8E-9AF7-3EF934675021}" dt="2021-11-11T06:07:50.738" v="13" actId="20577"/>
          <ac:spMkLst>
            <pc:docMk/>
            <pc:sldMk cId="2484403353" sldId="2147376118"/>
            <ac:spMk id="205" creationId="{F176F9FC-159C-4283-AB6D-F29897E07E3C}"/>
          </ac:spMkLst>
        </pc:spChg>
        <pc:spChg chg="mod">
          <ac:chgData name="Nina" userId="8ae98f8971f943e3" providerId="LiveId" clId="{7BA8B3C4-854D-4A8E-9AF7-3EF934675021}" dt="2021-11-11T06:07:53.222" v="15" actId="20577"/>
          <ac:spMkLst>
            <pc:docMk/>
            <pc:sldMk cId="2484403353" sldId="2147376118"/>
            <ac:spMk id="206" creationId="{DFA26C3F-4878-4D6D-99AF-8913EE90F75F}"/>
          </ac:spMkLst>
        </pc:spChg>
        <pc:spChg chg="mod">
          <ac:chgData name="Nina" userId="8ae98f8971f943e3" providerId="LiveId" clId="{7BA8B3C4-854D-4A8E-9AF7-3EF934675021}" dt="2021-11-11T06:07:56.557" v="17" actId="20577"/>
          <ac:spMkLst>
            <pc:docMk/>
            <pc:sldMk cId="2484403353" sldId="2147376118"/>
            <ac:spMk id="207" creationId="{D32AFE2A-373A-4F9F-9191-F002C28EDC4A}"/>
          </ac:spMkLst>
        </pc:spChg>
        <pc:spChg chg="mod">
          <ac:chgData name="Nina" userId="8ae98f8971f943e3" providerId="LiveId" clId="{7BA8B3C4-854D-4A8E-9AF7-3EF934675021}" dt="2021-11-11T06:07:46.430" v="9" actId="6549"/>
          <ac:spMkLst>
            <pc:docMk/>
            <pc:sldMk cId="2484403353" sldId="2147376118"/>
            <ac:spMk id="208" creationId="{9D42E1E5-DE31-4DA9-B642-DA115B5FBBC2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2.jpeg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7.emf"/><Relationship Id="rId4" Type="http://schemas.openxmlformats.org/officeDocument/2006/relationships/image" Target="../media/image6.emf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2.jpeg"/><Relationship Id="rId4" Type="http://schemas.openxmlformats.org/officeDocument/2006/relationships/image" Target="../media/image3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9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noProof="0" dirty="0"/>
              <a:t>Slide title (2 lines | max. 1 line with subtitle)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552827" y="1700808"/>
            <a:ext cx="10293319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652152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45" name="Textplatzhalter 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248225" y="2636912"/>
            <a:ext cx="3599513" cy="43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2799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&lt;Thank you!&gt;</a:t>
            </a:r>
          </a:p>
        </p:txBody>
      </p:sp>
      <p:sp>
        <p:nvSpPr>
          <p:cNvPr id="25" name="Bildplatzhalter 7">
            <a:extLst>
              <a:ext uri="{FF2B5EF4-FFF2-40B4-BE49-F238E27FC236}">
                <a16:creationId xmlns:a16="http://schemas.microsoft.com/office/drawing/2014/main" id="{7FCA8480-3DD5-4021-A659-0E4B23559E6E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93624" y="188914"/>
            <a:ext cx="11805494" cy="5761036"/>
          </a:xfrm>
          <a:solidFill>
            <a:srgbClr val="E0E0E0"/>
          </a:solidFill>
        </p:spPr>
        <p:txBody>
          <a:bodyPr lIns="0" tIns="576000" anchor="ctr" anchorCtr="0">
            <a:normAutofit/>
          </a:bodyPr>
          <a:lstStyle>
            <a:lvl1pPr marL="0" marR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Insert a picture here</a:t>
            </a:r>
          </a:p>
        </p:txBody>
      </p:sp>
    </p:spTree>
    <p:extLst>
      <p:ext uri="{BB962C8B-B14F-4D97-AF65-F5344CB8AC3E}">
        <p14:creationId xmlns:p14="http://schemas.microsoft.com/office/powerpoint/2010/main" val="34642261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Slide title (2 lines | max. 1 line with subtitle)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552827" y="1700808"/>
            <a:ext cx="10293319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544078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1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0512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8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4334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663304"/>
            <a:ext cx="9144000" cy="1846659"/>
          </a:xfrm>
        </p:spPr>
        <p:txBody>
          <a:bodyPr anchor="b"/>
          <a:lstStyle>
            <a:lvl1pPr algn="ctr">
              <a:defRPr sz="6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DF68D1-0145-3546-9F60-DCAAF73A1C80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526932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2735704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noProof="0" dirty="0"/>
              <a:t>Slide title (2 lines | max. 1 line with subtitle)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552827" y="1700808"/>
            <a:ext cx="10293319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778288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5345444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Slide title (2 lines | max. 1 line with subtitle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52307" y="1700808"/>
            <a:ext cx="4967581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</a:t>
            </a:r>
            <a:br>
              <a:rPr lang="en-US" dirty="0"/>
            </a:br>
            <a:r>
              <a:rPr lang="en-US" dirty="0"/>
              <a:t>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5" hasCustomPrompt="1"/>
          </p:nvPr>
        </p:nvSpPr>
        <p:spPr>
          <a:xfrm>
            <a:off x="5880157" y="1700808"/>
            <a:ext cx="4967581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</a:t>
            </a:r>
            <a:br>
              <a:rPr lang="en-US" dirty="0"/>
            </a:br>
            <a:r>
              <a:rPr lang="en-US" dirty="0"/>
              <a:t>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7468787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1139744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Slide title (2 lines | max. 1 line with subtitle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52306" y="1700808"/>
            <a:ext cx="323915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Inhaltsplatzhalter 3"/>
          <p:cNvSpPr>
            <a:spLocks noGrp="1"/>
          </p:cNvSpPr>
          <p:nvPr>
            <p:ph sz="quarter" idx="15" hasCustomPrompt="1"/>
          </p:nvPr>
        </p:nvSpPr>
        <p:spPr>
          <a:xfrm>
            <a:off x="4151820" y="1700808"/>
            <a:ext cx="309640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Inhaltsplatzhalter 3"/>
          <p:cNvSpPr>
            <a:spLocks noGrp="1"/>
          </p:cNvSpPr>
          <p:nvPr>
            <p:ph sz="quarter" idx="16" hasCustomPrompt="1"/>
          </p:nvPr>
        </p:nvSpPr>
        <p:spPr>
          <a:xfrm>
            <a:off x="7608494" y="1700808"/>
            <a:ext cx="323915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10782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g text with vign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951566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4" descr="K:\Mann + Hummel\03_Vorlagen\03_PowerPoint\backup\Vignette_16x32_weiß_2016.01.27.jp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" r="3"/>
          <a:stretch>
            <a:fillRect/>
          </a:stretch>
        </p:blipFill>
        <p:spPr bwMode="gray">
          <a:xfrm>
            <a:off x="193624" y="188914"/>
            <a:ext cx="11805494" cy="5761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platzhalter 9"/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192880" y="188913"/>
            <a:ext cx="11805495" cy="5761038"/>
          </a:xfrm>
        </p:spPr>
        <p:txBody>
          <a:bodyPr lIns="360000" tIns="360000" rIns="360000" bIns="360000" anchor="ctr">
            <a:noAutofit/>
          </a:bodyPr>
          <a:lstStyle>
            <a:lvl1pPr marL="0" algn="ctr">
              <a:spcAft>
                <a:spcPts val="0"/>
              </a:spcAft>
              <a:buFontTx/>
              <a:buNone/>
              <a:defRPr sz="3199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 algn="ctr">
              <a:spcAft>
                <a:spcPts val="0"/>
              </a:spcAft>
              <a:buFontTx/>
              <a:buNone/>
              <a:defRPr sz="3199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0" indent="0" algn="ctr">
              <a:spcBef>
                <a:spcPts val="1799"/>
              </a:spcBef>
              <a:spcAft>
                <a:spcPts val="0"/>
              </a:spcAft>
              <a:buFontTx/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Big Text first line</a:t>
            </a:r>
          </a:p>
          <a:p>
            <a:pPr lvl="1"/>
            <a:r>
              <a:rPr lang="en-US" noProof="0" dirty="0"/>
              <a:t>Big Text second line</a:t>
            </a:r>
          </a:p>
          <a:p>
            <a:pPr lvl="2"/>
            <a:r>
              <a:rPr lang="en-US" noProof="0" dirty="0"/>
              <a:t>Author</a:t>
            </a:r>
          </a:p>
        </p:txBody>
      </p:sp>
    </p:spTree>
    <p:extLst>
      <p:ext uri="{BB962C8B-B14F-4D97-AF65-F5344CB8AC3E}">
        <p14:creationId xmlns:p14="http://schemas.microsoft.com/office/powerpoint/2010/main" val="35566115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2087508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9004764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Slide title (2 lines | max. 1 line with subtitle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52307" y="1700808"/>
            <a:ext cx="4967581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</a:t>
            </a:r>
            <a:br>
              <a:rPr lang="en-US" dirty="0"/>
            </a:br>
            <a:r>
              <a:rPr lang="en-US" dirty="0"/>
              <a:t>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5" hasCustomPrompt="1"/>
          </p:nvPr>
        </p:nvSpPr>
        <p:spPr>
          <a:xfrm>
            <a:off x="5880157" y="1700808"/>
            <a:ext cx="4967581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</a:t>
            </a:r>
            <a:br>
              <a:rPr lang="en-US" dirty="0"/>
            </a:br>
            <a:r>
              <a:rPr lang="en-US" dirty="0"/>
              <a:t>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6418076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4744682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457530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2405809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 dirty="0"/>
              <a:t>Optional subtitle (in max. 1 line)</a:t>
            </a: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552827" y="1700808"/>
            <a:ext cx="10293319" cy="4248000"/>
          </a:xfrm>
        </p:spPr>
        <p:txBody>
          <a:bodyPr lIns="0" tIns="612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/>
              <a:t>Insert a picture he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noProof="0" dirty="0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174009531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4964919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92881" y="188641"/>
            <a:ext cx="11806237" cy="6480719"/>
          </a:xfrm>
          <a:solidFill>
            <a:schemeClr val="bg1"/>
          </a:solidFill>
        </p:spPr>
        <p:txBody>
          <a:bodyPr lIns="0" tIns="576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/>
              <a:t>Insert a picture here</a:t>
            </a:r>
          </a:p>
        </p:txBody>
      </p:sp>
    </p:spTree>
    <p:extLst>
      <p:ext uri="{BB962C8B-B14F-4D97-AF65-F5344CB8AC3E}">
        <p14:creationId xmlns:p14="http://schemas.microsoft.com/office/powerpoint/2010/main" val="23806064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8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noProof="0" dirty="0"/>
              <a:t>Slide title (2 lines | max. 1 line with subtitle)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552827" y="1700808"/>
            <a:ext cx="10293319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9863135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8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25470942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Slide title (2 lines | max. 1 line with subtitle)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552827" y="1700808"/>
            <a:ext cx="10293319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7796723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Slide title (2 lines | max. 1 line with subtitle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52307" y="1700808"/>
            <a:ext cx="4967581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</a:t>
            </a:r>
            <a:br>
              <a:rPr lang="en-US" dirty="0"/>
            </a:br>
            <a:r>
              <a:rPr lang="en-US" dirty="0"/>
              <a:t>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5" hasCustomPrompt="1"/>
          </p:nvPr>
        </p:nvSpPr>
        <p:spPr>
          <a:xfrm>
            <a:off x="5880157" y="1700808"/>
            <a:ext cx="4967581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</a:t>
            </a:r>
            <a:br>
              <a:rPr lang="en-US" dirty="0"/>
            </a:br>
            <a:r>
              <a:rPr lang="en-US" dirty="0"/>
              <a:t>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6701053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Slide title (2 lines | max. 1 line with subtitle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52306" y="1700808"/>
            <a:ext cx="323915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Inhaltsplatzhalter 3"/>
          <p:cNvSpPr>
            <a:spLocks noGrp="1"/>
          </p:cNvSpPr>
          <p:nvPr>
            <p:ph sz="quarter" idx="15" hasCustomPrompt="1"/>
          </p:nvPr>
        </p:nvSpPr>
        <p:spPr>
          <a:xfrm>
            <a:off x="4151820" y="1700808"/>
            <a:ext cx="309640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Inhaltsplatzhalter 3"/>
          <p:cNvSpPr>
            <a:spLocks noGrp="1"/>
          </p:cNvSpPr>
          <p:nvPr>
            <p:ph sz="quarter" idx="16" hasCustomPrompt="1"/>
          </p:nvPr>
        </p:nvSpPr>
        <p:spPr>
          <a:xfrm>
            <a:off x="7608494" y="1700808"/>
            <a:ext cx="323915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836938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g text with vign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K:\Mann + Hummel\03_Vorlagen\03_PowerPoint\backup\Vignette_16x32_weiß_2016.01.27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" r="3"/>
          <a:stretch>
            <a:fillRect/>
          </a:stretch>
        </p:blipFill>
        <p:spPr bwMode="gray">
          <a:xfrm>
            <a:off x="193624" y="188914"/>
            <a:ext cx="11805494" cy="5761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platzhalter 9"/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192880" y="188913"/>
            <a:ext cx="11805495" cy="5761038"/>
          </a:xfrm>
        </p:spPr>
        <p:txBody>
          <a:bodyPr lIns="360000" tIns="360000" rIns="360000" bIns="360000" anchor="ctr">
            <a:noAutofit/>
          </a:bodyPr>
          <a:lstStyle>
            <a:lvl1pPr marL="0" algn="ctr">
              <a:spcAft>
                <a:spcPts val="0"/>
              </a:spcAft>
              <a:buFontTx/>
              <a:buNone/>
              <a:defRPr sz="3199" baseline="0">
                <a:solidFill>
                  <a:schemeClr val="accent1"/>
                </a:solidFill>
              </a:defRPr>
            </a:lvl1pPr>
            <a:lvl2pPr marL="0" indent="0" algn="ctr">
              <a:spcAft>
                <a:spcPts val="0"/>
              </a:spcAft>
              <a:buFontTx/>
              <a:buNone/>
              <a:defRPr sz="3199" baseline="0">
                <a:solidFill>
                  <a:schemeClr val="accent2"/>
                </a:solidFill>
              </a:defRPr>
            </a:lvl2pPr>
            <a:lvl3pPr marL="0" indent="0" algn="ctr">
              <a:spcBef>
                <a:spcPts val="1799"/>
              </a:spcBef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Big Text first line</a:t>
            </a:r>
          </a:p>
          <a:p>
            <a:pPr lvl="1"/>
            <a:r>
              <a:rPr lang="en-US" noProof="0" dirty="0"/>
              <a:t>Big Text second line</a:t>
            </a:r>
          </a:p>
          <a:p>
            <a:pPr lvl="2"/>
            <a:r>
              <a:rPr lang="en-US" noProof="0" dirty="0"/>
              <a:t>Author</a:t>
            </a:r>
          </a:p>
        </p:txBody>
      </p:sp>
    </p:spTree>
    <p:extLst>
      <p:ext uri="{BB962C8B-B14F-4D97-AF65-F5344CB8AC3E}">
        <p14:creationId xmlns:p14="http://schemas.microsoft.com/office/powerpoint/2010/main" val="13978186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1165347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Slide title (2 lines | max. 1 line with subtitle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52306" y="1700808"/>
            <a:ext cx="323915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Inhaltsplatzhalter 3"/>
          <p:cNvSpPr>
            <a:spLocks noGrp="1"/>
          </p:cNvSpPr>
          <p:nvPr>
            <p:ph sz="quarter" idx="15" hasCustomPrompt="1"/>
          </p:nvPr>
        </p:nvSpPr>
        <p:spPr>
          <a:xfrm>
            <a:off x="4151820" y="1700808"/>
            <a:ext cx="309640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Inhaltsplatzhalter 3"/>
          <p:cNvSpPr>
            <a:spLocks noGrp="1"/>
          </p:cNvSpPr>
          <p:nvPr>
            <p:ph sz="quarter" idx="16" hasCustomPrompt="1"/>
          </p:nvPr>
        </p:nvSpPr>
        <p:spPr>
          <a:xfrm>
            <a:off x="7608494" y="1700808"/>
            <a:ext cx="323915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6432735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 dirty="0"/>
              <a:t>Optional subtitle (in max. 1 line)</a:t>
            </a: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552827" y="1700808"/>
            <a:ext cx="10293319" cy="4248000"/>
          </a:xfrm>
        </p:spPr>
        <p:txBody>
          <a:bodyPr lIns="0" tIns="612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/>
              <a:t>Insert a picture he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244850340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92881" y="188641"/>
            <a:ext cx="11806237" cy="6480719"/>
          </a:xfrm>
          <a:solidFill>
            <a:schemeClr val="bg1"/>
          </a:solidFill>
        </p:spPr>
        <p:txBody>
          <a:bodyPr lIns="0" tIns="576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/>
              <a:t>Insert a picture here</a:t>
            </a:r>
          </a:p>
        </p:txBody>
      </p:sp>
    </p:spTree>
    <p:extLst>
      <p:ext uri="{BB962C8B-B14F-4D97-AF65-F5344CB8AC3E}">
        <p14:creationId xmlns:p14="http://schemas.microsoft.com/office/powerpoint/2010/main" val="33554454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1799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Optional subtitle (in max. 1 line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156323743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noProof="0">
              <a:solidFill>
                <a:schemeClr val="bg1"/>
              </a:solidFill>
            </a:endParaRPr>
          </a:p>
        </p:txBody>
      </p:sp>
      <p:pic>
        <p:nvPicPr>
          <p:cNvPr id="32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7995" y="188913"/>
            <a:ext cx="11804751" cy="5761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Textplatzhalter 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939419" y="980776"/>
            <a:ext cx="8908319" cy="43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2799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&lt;Thank you!&gt;</a:t>
            </a:r>
          </a:p>
        </p:txBody>
      </p:sp>
      <p:pic>
        <p:nvPicPr>
          <p:cNvPr id="51" name="Picture 8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24" y="6510889"/>
            <a:ext cx="1529602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2" name="Gruppierung 2"/>
          <p:cNvGrpSpPr>
            <a:grpSpLocks noChangeAspect="1"/>
          </p:cNvGrpSpPr>
          <p:nvPr userDrawn="1"/>
        </p:nvGrpSpPr>
        <p:grpSpPr bwMode="gray">
          <a:xfrm rot="21208675">
            <a:off x="2079148" y="2067127"/>
            <a:ext cx="4104875" cy="2659484"/>
            <a:chOff x="3013829" y="1420446"/>
            <a:chExt cx="3412817" cy="2210533"/>
          </a:xfrm>
        </p:grpSpPr>
        <p:sp>
          <p:nvSpPr>
            <p:cNvPr id="53" name="Rechteck 52"/>
            <p:cNvSpPr/>
            <p:nvPr/>
          </p:nvSpPr>
          <p:spPr bwMode="gray">
            <a:xfrm>
              <a:off x="3013829" y="1420446"/>
              <a:ext cx="3412817" cy="2210533"/>
            </a:xfrm>
            <a:prstGeom prst="rect">
              <a:avLst/>
            </a:prstGeom>
            <a:solidFill>
              <a:schemeClr val="bg1"/>
            </a:solidFill>
            <a:ln w="28575" cap="sq" cmpd="sng">
              <a:noFill/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99" noProof="0"/>
            </a:p>
          </p:txBody>
        </p:sp>
        <p:grpSp>
          <p:nvGrpSpPr>
            <p:cNvPr id="54" name="Gruppierung 17"/>
            <p:cNvGrpSpPr/>
            <p:nvPr userDrawn="1"/>
          </p:nvGrpSpPr>
          <p:grpSpPr bwMode="gray">
            <a:xfrm>
              <a:off x="5378643" y="1587443"/>
              <a:ext cx="883009" cy="319627"/>
              <a:chOff x="2627313" y="2133600"/>
              <a:chExt cx="5210174" cy="1885957"/>
            </a:xfrm>
            <a:solidFill>
              <a:schemeClr val="accent1"/>
            </a:solidFill>
          </p:grpSpPr>
          <p:sp>
            <p:nvSpPr>
              <p:cNvPr id="55" name="Freeform 6"/>
              <p:cNvSpPr>
                <a:spLocks/>
              </p:cNvSpPr>
              <p:nvPr userDrawn="1"/>
            </p:nvSpPr>
            <p:spPr bwMode="gray">
              <a:xfrm>
                <a:off x="2627314" y="3159129"/>
                <a:ext cx="749301" cy="847727"/>
              </a:xfrm>
              <a:custGeom>
                <a:avLst/>
                <a:gdLst/>
                <a:ahLst/>
                <a:cxnLst>
                  <a:cxn ang="0">
                    <a:pos x="354" y="534"/>
                  </a:cxn>
                  <a:cxn ang="0">
                    <a:pos x="354" y="320"/>
                  </a:cxn>
                  <a:cxn ang="0">
                    <a:pos x="118" y="320"/>
                  </a:cxn>
                  <a:cxn ang="0">
                    <a:pos x="118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18" y="0"/>
                  </a:cxn>
                  <a:cxn ang="0">
                    <a:pos x="118" y="212"/>
                  </a:cxn>
                  <a:cxn ang="0">
                    <a:pos x="354" y="212"/>
                  </a:cxn>
                  <a:cxn ang="0">
                    <a:pos x="354" y="0"/>
                  </a:cxn>
                  <a:cxn ang="0">
                    <a:pos x="472" y="0"/>
                  </a:cxn>
                  <a:cxn ang="0">
                    <a:pos x="472" y="534"/>
                  </a:cxn>
                  <a:cxn ang="0">
                    <a:pos x="354" y="534"/>
                  </a:cxn>
                </a:cxnLst>
                <a:rect l="0" t="0" r="r" b="b"/>
                <a:pathLst>
                  <a:path w="472" h="534">
                    <a:moveTo>
                      <a:pt x="354" y="534"/>
                    </a:moveTo>
                    <a:lnTo>
                      <a:pt x="354" y="320"/>
                    </a:lnTo>
                    <a:lnTo>
                      <a:pt x="118" y="320"/>
                    </a:lnTo>
                    <a:lnTo>
                      <a:pt x="118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212"/>
                    </a:lnTo>
                    <a:lnTo>
                      <a:pt x="354" y="212"/>
                    </a:lnTo>
                    <a:lnTo>
                      <a:pt x="354" y="0"/>
                    </a:lnTo>
                    <a:lnTo>
                      <a:pt x="472" y="0"/>
                    </a:lnTo>
                    <a:lnTo>
                      <a:pt x="472" y="534"/>
                    </a:lnTo>
                    <a:lnTo>
                      <a:pt x="354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56" name="Freeform 7"/>
              <p:cNvSpPr>
                <a:spLocks/>
              </p:cNvSpPr>
              <p:nvPr userDrawn="1"/>
            </p:nvSpPr>
            <p:spPr bwMode="gray">
              <a:xfrm>
                <a:off x="3544886" y="3159132"/>
                <a:ext cx="733426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57" name="Freeform 8"/>
              <p:cNvSpPr>
                <a:spLocks/>
              </p:cNvSpPr>
              <p:nvPr userDrawn="1"/>
            </p:nvSpPr>
            <p:spPr bwMode="gray">
              <a:xfrm>
                <a:off x="3544887" y="3159128"/>
                <a:ext cx="733426" cy="860424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58" name="Freeform 9"/>
              <p:cNvSpPr>
                <a:spLocks/>
              </p:cNvSpPr>
              <p:nvPr userDrawn="1"/>
            </p:nvSpPr>
            <p:spPr bwMode="gray">
              <a:xfrm>
                <a:off x="2627313" y="2139948"/>
                <a:ext cx="847723" cy="850900"/>
              </a:xfrm>
              <a:custGeom>
                <a:avLst/>
                <a:gdLst/>
                <a:ahLst/>
                <a:cxnLst>
                  <a:cxn ang="0">
                    <a:pos x="418" y="536"/>
                  </a:cxn>
                  <a:cxn ang="0">
                    <a:pos x="418" y="186"/>
                  </a:cxn>
                  <a:cxn ang="0">
                    <a:pos x="268" y="414"/>
                  </a:cxn>
                  <a:cxn ang="0">
                    <a:pos x="264" y="414"/>
                  </a:cxn>
                  <a:cxn ang="0">
                    <a:pos x="116" y="188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68" y="226"/>
                  </a:cxn>
                  <a:cxn ang="0">
                    <a:pos x="408" y="0"/>
                  </a:cxn>
                  <a:cxn ang="0">
                    <a:pos x="534" y="0"/>
                  </a:cxn>
                  <a:cxn ang="0">
                    <a:pos x="534" y="536"/>
                  </a:cxn>
                  <a:cxn ang="0">
                    <a:pos x="418" y="536"/>
                  </a:cxn>
                </a:cxnLst>
                <a:rect l="0" t="0" r="r" b="b"/>
                <a:pathLst>
                  <a:path w="534" h="536">
                    <a:moveTo>
                      <a:pt x="418" y="536"/>
                    </a:moveTo>
                    <a:lnTo>
                      <a:pt x="418" y="186"/>
                    </a:lnTo>
                    <a:lnTo>
                      <a:pt x="268" y="414"/>
                    </a:lnTo>
                    <a:lnTo>
                      <a:pt x="264" y="414"/>
                    </a:lnTo>
                    <a:lnTo>
                      <a:pt x="116" y="188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68" y="226"/>
                    </a:lnTo>
                    <a:lnTo>
                      <a:pt x="408" y="0"/>
                    </a:lnTo>
                    <a:lnTo>
                      <a:pt x="534" y="0"/>
                    </a:lnTo>
                    <a:lnTo>
                      <a:pt x="534" y="536"/>
                    </a:lnTo>
                    <a:lnTo>
                      <a:pt x="418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59" name="Freeform 10"/>
              <p:cNvSpPr>
                <a:spLocks/>
              </p:cNvSpPr>
              <p:nvPr userDrawn="1"/>
            </p:nvSpPr>
            <p:spPr bwMode="gray">
              <a:xfrm>
                <a:off x="4535483" y="2139949"/>
                <a:ext cx="781047" cy="850900"/>
              </a:xfrm>
              <a:custGeom>
                <a:avLst/>
                <a:gdLst/>
                <a:ahLst/>
                <a:cxnLst>
                  <a:cxn ang="0">
                    <a:pos x="392" y="536"/>
                  </a:cxn>
                  <a:cxn ang="0">
                    <a:pos x="118" y="194"/>
                  </a:cxn>
                  <a:cxn ang="0">
                    <a:pos x="118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6" y="330"/>
                  </a:cxn>
                  <a:cxn ang="0">
                    <a:pos x="376" y="0"/>
                  </a:cxn>
                  <a:cxn ang="0">
                    <a:pos x="492" y="0"/>
                  </a:cxn>
                  <a:cxn ang="0">
                    <a:pos x="492" y="536"/>
                  </a:cxn>
                  <a:cxn ang="0">
                    <a:pos x="392" y="536"/>
                  </a:cxn>
                </a:cxnLst>
                <a:rect l="0" t="0" r="r" b="b"/>
                <a:pathLst>
                  <a:path w="492" h="536">
                    <a:moveTo>
                      <a:pt x="392" y="536"/>
                    </a:moveTo>
                    <a:lnTo>
                      <a:pt x="118" y="194"/>
                    </a:lnTo>
                    <a:lnTo>
                      <a:pt x="118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6" y="330"/>
                    </a:lnTo>
                    <a:lnTo>
                      <a:pt x="376" y="0"/>
                    </a:lnTo>
                    <a:lnTo>
                      <a:pt x="492" y="0"/>
                    </a:lnTo>
                    <a:lnTo>
                      <a:pt x="492" y="536"/>
                    </a:lnTo>
                    <a:lnTo>
                      <a:pt x="392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60" name="Freeform 11"/>
              <p:cNvSpPr>
                <a:spLocks/>
              </p:cNvSpPr>
              <p:nvPr userDrawn="1"/>
            </p:nvSpPr>
            <p:spPr bwMode="gray">
              <a:xfrm>
                <a:off x="5475287" y="2139949"/>
                <a:ext cx="777874" cy="850900"/>
              </a:xfrm>
              <a:custGeom>
                <a:avLst/>
                <a:gdLst/>
                <a:ahLst/>
                <a:cxnLst>
                  <a:cxn ang="0">
                    <a:pos x="390" y="536"/>
                  </a:cxn>
                  <a:cxn ang="0">
                    <a:pos x="116" y="194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4" y="330"/>
                  </a:cxn>
                  <a:cxn ang="0">
                    <a:pos x="374" y="0"/>
                  </a:cxn>
                  <a:cxn ang="0">
                    <a:pos x="490" y="0"/>
                  </a:cxn>
                  <a:cxn ang="0">
                    <a:pos x="490" y="536"/>
                  </a:cxn>
                  <a:cxn ang="0">
                    <a:pos x="390" y="536"/>
                  </a:cxn>
                </a:cxnLst>
                <a:rect l="0" t="0" r="r" b="b"/>
                <a:pathLst>
                  <a:path w="490" h="536">
                    <a:moveTo>
                      <a:pt x="390" y="536"/>
                    </a:moveTo>
                    <a:lnTo>
                      <a:pt x="116" y="194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4" y="330"/>
                    </a:lnTo>
                    <a:lnTo>
                      <a:pt x="374" y="0"/>
                    </a:lnTo>
                    <a:lnTo>
                      <a:pt x="490" y="0"/>
                    </a:lnTo>
                    <a:lnTo>
                      <a:pt x="490" y="536"/>
                    </a:lnTo>
                    <a:lnTo>
                      <a:pt x="390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61" name="Freeform 12"/>
              <p:cNvSpPr>
                <a:spLocks/>
              </p:cNvSpPr>
              <p:nvPr userDrawn="1"/>
            </p:nvSpPr>
            <p:spPr bwMode="gray">
              <a:xfrm>
                <a:off x="4446584" y="3159123"/>
                <a:ext cx="822323" cy="847727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58" y="414"/>
                  </a:cxn>
                  <a:cxn ang="0">
                    <a:pos x="256" y="414"/>
                  </a:cxn>
                  <a:cxn ang="0">
                    <a:pos x="114" y="188"/>
                  </a:cxn>
                  <a:cxn ang="0">
                    <a:pos x="114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58" y="226"/>
                  </a:cxn>
                  <a:cxn ang="0">
                    <a:pos x="392" y="0"/>
                  </a:cxn>
                  <a:cxn ang="0">
                    <a:pos x="518" y="0"/>
                  </a:cxn>
                  <a:cxn ang="0">
                    <a:pos x="518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18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58" y="414"/>
                    </a:lnTo>
                    <a:lnTo>
                      <a:pt x="256" y="414"/>
                    </a:lnTo>
                    <a:lnTo>
                      <a:pt x="114" y="188"/>
                    </a:lnTo>
                    <a:lnTo>
                      <a:pt x="114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58" y="226"/>
                    </a:lnTo>
                    <a:lnTo>
                      <a:pt x="392" y="0"/>
                    </a:lnTo>
                    <a:lnTo>
                      <a:pt x="518" y="0"/>
                    </a:lnTo>
                    <a:lnTo>
                      <a:pt x="518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62" name="Freeform 13"/>
              <p:cNvSpPr>
                <a:spLocks/>
              </p:cNvSpPr>
              <p:nvPr userDrawn="1"/>
            </p:nvSpPr>
            <p:spPr bwMode="gray">
              <a:xfrm>
                <a:off x="5430835" y="3159123"/>
                <a:ext cx="825501" cy="847727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60" y="414"/>
                  </a:cxn>
                  <a:cxn ang="0">
                    <a:pos x="258" y="414"/>
                  </a:cxn>
                  <a:cxn ang="0">
                    <a:pos x="116" y="188"/>
                  </a:cxn>
                  <a:cxn ang="0">
                    <a:pos x="116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8" y="0"/>
                  </a:cxn>
                  <a:cxn ang="0">
                    <a:pos x="260" y="226"/>
                  </a:cxn>
                  <a:cxn ang="0">
                    <a:pos x="392" y="0"/>
                  </a:cxn>
                  <a:cxn ang="0">
                    <a:pos x="520" y="0"/>
                  </a:cxn>
                  <a:cxn ang="0">
                    <a:pos x="520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20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60" y="414"/>
                    </a:lnTo>
                    <a:lnTo>
                      <a:pt x="258" y="414"/>
                    </a:lnTo>
                    <a:lnTo>
                      <a:pt x="116" y="188"/>
                    </a:lnTo>
                    <a:lnTo>
                      <a:pt x="116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8" y="0"/>
                    </a:lnTo>
                    <a:lnTo>
                      <a:pt x="260" y="226"/>
                    </a:lnTo>
                    <a:lnTo>
                      <a:pt x="392" y="0"/>
                    </a:lnTo>
                    <a:lnTo>
                      <a:pt x="520" y="0"/>
                    </a:lnTo>
                    <a:lnTo>
                      <a:pt x="520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63" name="Freeform 14"/>
              <p:cNvSpPr>
                <a:spLocks/>
              </p:cNvSpPr>
              <p:nvPr userDrawn="1"/>
            </p:nvSpPr>
            <p:spPr bwMode="gray">
              <a:xfrm>
                <a:off x="6415085" y="3159124"/>
                <a:ext cx="650874" cy="847727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410" y="0"/>
                  </a:cxn>
                  <a:cxn ang="0">
                    <a:pos x="410" y="104"/>
                  </a:cxn>
                  <a:cxn ang="0">
                    <a:pos x="118" y="104"/>
                  </a:cxn>
                  <a:cxn ang="0">
                    <a:pos x="118" y="212"/>
                  </a:cxn>
                  <a:cxn ang="0">
                    <a:pos x="378" y="212"/>
                  </a:cxn>
                  <a:cxn ang="0">
                    <a:pos x="378" y="318"/>
                  </a:cxn>
                  <a:cxn ang="0">
                    <a:pos x="118" y="318"/>
                  </a:cxn>
                  <a:cxn ang="0">
                    <a:pos x="118" y="430"/>
                  </a:cxn>
                  <a:cxn ang="0">
                    <a:pos x="410" y="430"/>
                  </a:cxn>
                  <a:cxn ang="0">
                    <a:pos x="410" y="534"/>
                  </a:cxn>
                  <a:cxn ang="0">
                    <a:pos x="0" y="534"/>
                  </a:cxn>
                </a:cxnLst>
                <a:rect l="0" t="0" r="r" b="b"/>
                <a:pathLst>
                  <a:path w="410" h="534">
                    <a:moveTo>
                      <a:pt x="0" y="534"/>
                    </a:moveTo>
                    <a:lnTo>
                      <a:pt x="0" y="0"/>
                    </a:lnTo>
                    <a:lnTo>
                      <a:pt x="410" y="0"/>
                    </a:lnTo>
                    <a:lnTo>
                      <a:pt x="410" y="104"/>
                    </a:lnTo>
                    <a:lnTo>
                      <a:pt x="118" y="104"/>
                    </a:lnTo>
                    <a:lnTo>
                      <a:pt x="118" y="212"/>
                    </a:lnTo>
                    <a:lnTo>
                      <a:pt x="378" y="212"/>
                    </a:lnTo>
                    <a:lnTo>
                      <a:pt x="378" y="318"/>
                    </a:lnTo>
                    <a:lnTo>
                      <a:pt x="118" y="318"/>
                    </a:lnTo>
                    <a:lnTo>
                      <a:pt x="118" y="430"/>
                    </a:lnTo>
                    <a:lnTo>
                      <a:pt x="410" y="430"/>
                    </a:lnTo>
                    <a:lnTo>
                      <a:pt x="410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64" name="Freeform 15"/>
              <p:cNvSpPr>
                <a:spLocks/>
              </p:cNvSpPr>
              <p:nvPr userDrawn="1"/>
            </p:nvSpPr>
            <p:spPr bwMode="gray">
              <a:xfrm>
                <a:off x="7227888" y="3159126"/>
                <a:ext cx="609599" cy="847727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116" y="0"/>
                  </a:cxn>
                  <a:cxn ang="0">
                    <a:pos x="116" y="428"/>
                  </a:cxn>
                  <a:cxn ang="0">
                    <a:pos x="384" y="428"/>
                  </a:cxn>
                  <a:cxn ang="0">
                    <a:pos x="384" y="534"/>
                  </a:cxn>
                  <a:cxn ang="0">
                    <a:pos x="0" y="534"/>
                  </a:cxn>
                </a:cxnLst>
                <a:rect l="0" t="0" r="r" b="b"/>
                <a:pathLst>
                  <a:path w="384" h="534">
                    <a:moveTo>
                      <a:pt x="0" y="534"/>
                    </a:moveTo>
                    <a:lnTo>
                      <a:pt x="0" y="0"/>
                    </a:lnTo>
                    <a:lnTo>
                      <a:pt x="116" y="0"/>
                    </a:lnTo>
                    <a:lnTo>
                      <a:pt x="116" y="428"/>
                    </a:lnTo>
                    <a:lnTo>
                      <a:pt x="384" y="428"/>
                    </a:lnTo>
                    <a:lnTo>
                      <a:pt x="384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65" name="Freeform 16"/>
              <p:cNvSpPr>
                <a:spLocks noEditPoints="1"/>
              </p:cNvSpPr>
              <p:nvPr userDrawn="1"/>
            </p:nvSpPr>
            <p:spPr bwMode="gray">
              <a:xfrm>
                <a:off x="3548063" y="2133600"/>
                <a:ext cx="911225" cy="857251"/>
              </a:xfrm>
              <a:custGeom>
                <a:avLst/>
                <a:gdLst/>
                <a:ahLst/>
                <a:cxnLst>
                  <a:cxn ang="0">
                    <a:pos x="212" y="316"/>
                  </a:cxn>
                  <a:cxn ang="0">
                    <a:pos x="286" y="142"/>
                  </a:cxn>
                  <a:cxn ang="0">
                    <a:pos x="360" y="316"/>
                  </a:cxn>
                  <a:cxn ang="0">
                    <a:pos x="212" y="316"/>
                  </a:cxn>
                  <a:cxn ang="0">
                    <a:pos x="342" y="0"/>
                  </a:cxn>
                  <a:cxn ang="0">
                    <a:pos x="232" y="0"/>
                  </a:cxn>
                  <a:cxn ang="0">
                    <a:pos x="0" y="540"/>
                  </a:cxn>
                  <a:cxn ang="0">
                    <a:pos x="120" y="540"/>
                  </a:cxn>
                  <a:cxn ang="0">
                    <a:pos x="170" y="420"/>
                  </a:cxn>
                  <a:cxn ang="0">
                    <a:pos x="402" y="420"/>
                  </a:cxn>
                  <a:cxn ang="0">
                    <a:pos x="452" y="540"/>
                  </a:cxn>
                  <a:cxn ang="0">
                    <a:pos x="574" y="540"/>
                  </a:cxn>
                  <a:cxn ang="0">
                    <a:pos x="342" y="0"/>
                  </a:cxn>
                </a:cxnLst>
                <a:rect l="0" t="0" r="r" b="b"/>
                <a:pathLst>
                  <a:path w="574" h="540">
                    <a:moveTo>
                      <a:pt x="212" y="316"/>
                    </a:moveTo>
                    <a:lnTo>
                      <a:pt x="286" y="142"/>
                    </a:lnTo>
                    <a:lnTo>
                      <a:pt x="360" y="316"/>
                    </a:lnTo>
                    <a:lnTo>
                      <a:pt x="212" y="316"/>
                    </a:lnTo>
                    <a:close/>
                    <a:moveTo>
                      <a:pt x="342" y="0"/>
                    </a:moveTo>
                    <a:lnTo>
                      <a:pt x="232" y="0"/>
                    </a:lnTo>
                    <a:lnTo>
                      <a:pt x="0" y="540"/>
                    </a:lnTo>
                    <a:lnTo>
                      <a:pt x="120" y="540"/>
                    </a:lnTo>
                    <a:lnTo>
                      <a:pt x="170" y="420"/>
                    </a:lnTo>
                    <a:lnTo>
                      <a:pt x="402" y="420"/>
                    </a:lnTo>
                    <a:lnTo>
                      <a:pt x="452" y="540"/>
                    </a:lnTo>
                    <a:lnTo>
                      <a:pt x="574" y="540"/>
                    </a:lnTo>
                    <a:lnTo>
                      <a:pt x="3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66" name="Freeform 17"/>
              <p:cNvSpPr>
                <a:spLocks/>
              </p:cNvSpPr>
              <p:nvPr userDrawn="1"/>
            </p:nvSpPr>
            <p:spPr bwMode="gray">
              <a:xfrm>
                <a:off x="6538912" y="2139951"/>
                <a:ext cx="873123" cy="850900"/>
              </a:xfrm>
              <a:custGeom>
                <a:avLst/>
                <a:gdLst/>
                <a:ahLst/>
                <a:cxnLst>
                  <a:cxn ang="0">
                    <a:pos x="550" y="212"/>
                  </a:cxn>
                  <a:cxn ang="0">
                    <a:pos x="332" y="212"/>
                  </a:cxn>
                  <a:cxn ang="0">
                    <a:pos x="332" y="0"/>
                  </a:cxn>
                  <a:cxn ang="0">
                    <a:pos x="220" y="0"/>
                  </a:cxn>
                  <a:cxn ang="0">
                    <a:pos x="220" y="212"/>
                  </a:cxn>
                  <a:cxn ang="0">
                    <a:pos x="0" y="212"/>
                  </a:cxn>
                  <a:cxn ang="0">
                    <a:pos x="0" y="322"/>
                  </a:cxn>
                  <a:cxn ang="0">
                    <a:pos x="220" y="322"/>
                  </a:cxn>
                  <a:cxn ang="0">
                    <a:pos x="220" y="536"/>
                  </a:cxn>
                  <a:cxn ang="0">
                    <a:pos x="332" y="536"/>
                  </a:cxn>
                  <a:cxn ang="0">
                    <a:pos x="332" y="322"/>
                  </a:cxn>
                  <a:cxn ang="0">
                    <a:pos x="550" y="322"/>
                  </a:cxn>
                  <a:cxn ang="0">
                    <a:pos x="550" y="212"/>
                  </a:cxn>
                </a:cxnLst>
                <a:rect l="0" t="0" r="r" b="b"/>
                <a:pathLst>
                  <a:path w="550" h="536">
                    <a:moveTo>
                      <a:pt x="550" y="212"/>
                    </a:moveTo>
                    <a:lnTo>
                      <a:pt x="332" y="212"/>
                    </a:lnTo>
                    <a:lnTo>
                      <a:pt x="332" y="0"/>
                    </a:lnTo>
                    <a:lnTo>
                      <a:pt x="220" y="0"/>
                    </a:lnTo>
                    <a:lnTo>
                      <a:pt x="220" y="212"/>
                    </a:lnTo>
                    <a:lnTo>
                      <a:pt x="0" y="212"/>
                    </a:lnTo>
                    <a:lnTo>
                      <a:pt x="0" y="322"/>
                    </a:lnTo>
                    <a:lnTo>
                      <a:pt x="220" y="322"/>
                    </a:lnTo>
                    <a:lnTo>
                      <a:pt x="220" y="536"/>
                    </a:lnTo>
                    <a:lnTo>
                      <a:pt x="332" y="536"/>
                    </a:lnTo>
                    <a:lnTo>
                      <a:pt x="332" y="322"/>
                    </a:lnTo>
                    <a:lnTo>
                      <a:pt x="550" y="322"/>
                    </a:lnTo>
                    <a:lnTo>
                      <a:pt x="550" y="2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</p:grpSp>
      </p:grpSp>
      <p:sp>
        <p:nvSpPr>
          <p:cNvPr id="67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 rot="21180000">
            <a:off x="2333003" y="3288704"/>
            <a:ext cx="3709015" cy="251546"/>
          </a:xfrm>
        </p:spPr>
        <p:txBody>
          <a:bodyPr anchor="b">
            <a:normAutofit/>
          </a:bodyPr>
          <a:lstStyle>
            <a:lvl1pPr marL="0">
              <a:spcAft>
                <a:spcPts val="0"/>
              </a:spcAft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9pPr>
          </a:lstStyle>
          <a:p>
            <a:pPr lvl="0"/>
            <a:r>
              <a:rPr lang="en-US" noProof="0"/>
              <a:t>Position</a:t>
            </a:r>
          </a:p>
        </p:txBody>
      </p:sp>
      <p:sp>
        <p:nvSpPr>
          <p:cNvPr id="68" name="Titel 5"/>
          <p:cNvSpPr>
            <a:spLocks noGrp="1"/>
          </p:cNvSpPr>
          <p:nvPr>
            <p:ph type="title" hasCustomPrompt="1"/>
          </p:nvPr>
        </p:nvSpPr>
        <p:spPr bwMode="gray">
          <a:xfrm rot="21180000">
            <a:off x="2293556" y="2889175"/>
            <a:ext cx="3710216" cy="400459"/>
          </a:xfrm>
          <a:solidFill>
            <a:schemeClr val="bg1"/>
          </a:solidFill>
        </p:spPr>
        <p:txBody>
          <a:bodyPr vert="horz" lIns="0" tIns="0" rIns="0" bIns="0" anchor="b">
            <a:noAutofit/>
          </a:bodyPr>
          <a:lstStyle>
            <a:lvl1pPr marL="0" marR="0" indent="0" algn="l" defTabSz="4570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/>
            </a:lvl1pPr>
          </a:lstStyle>
          <a:p>
            <a:r>
              <a:rPr lang="en-US" noProof="0"/>
              <a:t>Name Surname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 rot="21179971">
            <a:off x="2415264" y="3791481"/>
            <a:ext cx="1531791" cy="767067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/>
              <a:t>MANN+HUMMEL</a:t>
            </a:r>
            <a:br>
              <a:rPr lang="en-US" noProof="0"/>
            </a:br>
            <a:r>
              <a:rPr lang="en-US" noProof="0"/>
              <a:t>Address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20" hasCustomPrompt="1"/>
          </p:nvPr>
        </p:nvSpPr>
        <p:spPr bwMode="gray">
          <a:xfrm rot="21179971">
            <a:off x="3975156" y="3563963"/>
            <a:ext cx="2142240" cy="767067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tabLst>
                <a:tab pos="449128" algn="l"/>
              </a:tabLst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/>
              <a:t>Phone   +xx </a:t>
            </a:r>
            <a:r>
              <a:rPr lang="en-US" noProof="0" err="1"/>
              <a:t>xxxx</a:t>
            </a:r>
            <a:r>
              <a:rPr lang="en-US" noProof="0"/>
              <a:t> xx-xx</a:t>
            </a:r>
            <a:br>
              <a:rPr lang="en-US" noProof="0"/>
            </a:br>
            <a:r>
              <a:rPr lang="en-US" noProof="0"/>
              <a:t>Fax        +xx </a:t>
            </a:r>
            <a:r>
              <a:rPr lang="en-US" noProof="0" err="1"/>
              <a:t>xxxx</a:t>
            </a:r>
            <a:r>
              <a:rPr lang="en-US" noProof="0"/>
              <a:t> xx-xx</a:t>
            </a:r>
            <a:br>
              <a:rPr lang="en-US" noProof="0"/>
            </a:br>
            <a:r>
              <a:rPr lang="en-US" noProof="0"/>
              <a:t>Mobile    +xx </a:t>
            </a:r>
            <a:r>
              <a:rPr lang="en-US" noProof="0" err="1"/>
              <a:t>xxxx</a:t>
            </a:r>
            <a:r>
              <a:rPr lang="en-US" noProof="0"/>
              <a:t> xx xxx</a:t>
            </a:r>
            <a:br>
              <a:rPr lang="en-US" noProof="0"/>
            </a:br>
            <a:r>
              <a:rPr lang="en-US" noProof="0"/>
              <a:t>max.mustermann@mann-hummel.com</a:t>
            </a:r>
            <a:br>
              <a:rPr lang="en-US" noProof="0"/>
            </a:br>
            <a:r>
              <a:rPr lang="en-US" noProof="0"/>
              <a:t>www.mann-hummel.com</a:t>
            </a:r>
          </a:p>
        </p:txBody>
      </p:sp>
      <p:grpSp>
        <p:nvGrpSpPr>
          <p:cNvPr id="71" name="Gruppierung 2"/>
          <p:cNvGrpSpPr>
            <a:grpSpLocks noChangeAspect="1"/>
          </p:cNvGrpSpPr>
          <p:nvPr userDrawn="1"/>
        </p:nvGrpSpPr>
        <p:grpSpPr bwMode="gray">
          <a:xfrm rot="21208675">
            <a:off x="6089739" y="2067126"/>
            <a:ext cx="4104875" cy="2659484"/>
            <a:chOff x="3013829" y="1420446"/>
            <a:chExt cx="3412816" cy="2210534"/>
          </a:xfrm>
        </p:grpSpPr>
        <p:sp>
          <p:nvSpPr>
            <p:cNvPr id="72" name="Rechteck 71"/>
            <p:cNvSpPr/>
            <p:nvPr/>
          </p:nvSpPr>
          <p:spPr bwMode="gray">
            <a:xfrm>
              <a:off x="3013829" y="1420446"/>
              <a:ext cx="3412816" cy="2210534"/>
            </a:xfrm>
            <a:prstGeom prst="rect">
              <a:avLst/>
            </a:prstGeom>
            <a:solidFill>
              <a:schemeClr val="bg1"/>
            </a:solidFill>
            <a:ln w="28575" cap="sq" cmpd="sng">
              <a:noFill/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99" noProof="0"/>
            </a:p>
          </p:txBody>
        </p:sp>
        <p:grpSp>
          <p:nvGrpSpPr>
            <p:cNvPr id="73" name="Gruppierung 17"/>
            <p:cNvGrpSpPr/>
            <p:nvPr userDrawn="1"/>
          </p:nvGrpSpPr>
          <p:grpSpPr bwMode="gray">
            <a:xfrm>
              <a:off x="5378643" y="1587443"/>
              <a:ext cx="883009" cy="319627"/>
              <a:chOff x="2627313" y="2133600"/>
              <a:chExt cx="5210175" cy="1885950"/>
            </a:xfrm>
            <a:solidFill>
              <a:schemeClr val="accent1"/>
            </a:solidFill>
          </p:grpSpPr>
          <p:sp>
            <p:nvSpPr>
              <p:cNvPr id="74" name="Freeform 6"/>
              <p:cNvSpPr>
                <a:spLocks/>
              </p:cNvSpPr>
              <p:nvPr userDrawn="1"/>
            </p:nvSpPr>
            <p:spPr bwMode="gray">
              <a:xfrm>
                <a:off x="2627313" y="3159125"/>
                <a:ext cx="749300" cy="847725"/>
              </a:xfrm>
              <a:custGeom>
                <a:avLst/>
                <a:gdLst/>
                <a:ahLst/>
                <a:cxnLst>
                  <a:cxn ang="0">
                    <a:pos x="354" y="534"/>
                  </a:cxn>
                  <a:cxn ang="0">
                    <a:pos x="354" y="320"/>
                  </a:cxn>
                  <a:cxn ang="0">
                    <a:pos x="118" y="320"/>
                  </a:cxn>
                  <a:cxn ang="0">
                    <a:pos x="118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18" y="0"/>
                  </a:cxn>
                  <a:cxn ang="0">
                    <a:pos x="118" y="212"/>
                  </a:cxn>
                  <a:cxn ang="0">
                    <a:pos x="354" y="212"/>
                  </a:cxn>
                  <a:cxn ang="0">
                    <a:pos x="354" y="0"/>
                  </a:cxn>
                  <a:cxn ang="0">
                    <a:pos x="472" y="0"/>
                  </a:cxn>
                  <a:cxn ang="0">
                    <a:pos x="472" y="534"/>
                  </a:cxn>
                  <a:cxn ang="0">
                    <a:pos x="354" y="534"/>
                  </a:cxn>
                </a:cxnLst>
                <a:rect l="0" t="0" r="r" b="b"/>
                <a:pathLst>
                  <a:path w="472" h="534">
                    <a:moveTo>
                      <a:pt x="354" y="534"/>
                    </a:moveTo>
                    <a:lnTo>
                      <a:pt x="354" y="320"/>
                    </a:lnTo>
                    <a:lnTo>
                      <a:pt x="118" y="320"/>
                    </a:lnTo>
                    <a:lnTo>
                      <a:pt x="118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212"/>
                    </a:lnTo>
                    <a:lnTo>
                      <a:pt x="354" y="212"/>
                    </a:lnTo>
                    <a:lnTo>
                      <a:pt x="354" y="0"/>
                    </a:lnTo>
                    <a:lnTo>
                      <a:pt x="472" y="0"/>
                    </a:lnTo>
                    <a:lnTo>
                      <a:pt x="472" y="534"/>
                    </a:lnTo>
                    <a:lnTo>
                      <a:pt x="354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75" name="Freeform 7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76" name="Freeform 8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77" name="Freeform 9"/>
              <p:cNvSpPr>
                <a:spLocks/>
              </p:cNvSpPr>
              <p:nvPr userDrawn="1"/>
            </p:nvSpPr>
            <p:spPr bwMode="gray">
              <a:xfrm>
                <a:off x="2627313" y="2139950"/>
                <a:ext cx="847725" cy="850900"/>
              </a:xfrm>
              <a:custGeom>
                <a:avLst/>
                <a:gdLst/>
                <a:ahLst/>
                <a:cxnLst>
                  <a:cxn ang="0">
                    <a:pos x="418" y="536"/>
                  </a:cxn>
                  <a:cxn ang="0">
                    <a:pos x="418" y="186"/>
                  </a:cxn>
                  <a:cxn ang="0">
                    <a:pos x="268" y="414"/>
                  </a:cxn>
                  <a:cxn ang="0">
                    <a:pos x="264" y="414"/>
                  </a:cxn>
                  <a:cxn ang="0">
                    <a:pos x="116" y="188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68" y="226"/>
                  </a:cxn>
                  <a:cxn ang="0">
                    <a:pos x="408" y="0"/>
                  </a:cxn>
                  <a:cxn ang="0">
                    <a:pos x="534" y="0"/>
                  </a:cxn>
                  <a:cxn ang="0">
                    <a:pos x="534" y="536"/>
                  </a:cxn>
                  <a:cxn ang="0">
                    <a:pos x="418" y="536"/>
                  </a:cxn>
                </a:cxnLst>
                <a:rect l="0" t="0" r="r" b="b"/>
                <a:pathLst>
                  <a:path w="534" h="536">
                    <a:moveTo>
                      <a:pt x="418" y="536"/>
                    </a:moveTo>
                    <a:lnTo>
                      <a:pt x="418" y="186"/>
                    </a:lnTo>
                    <a:lnTo>
                      <a:pt x="268" y="414"/>
                    </a:lnTo>
                    <a:lnTo>
                      <a:pt x="264" y="414"/>
                    </a:lnTo>
                    <a:lnTo>
                      <a:pt x="116" y="188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68" y="226"/>
                    </a:lnTo>
                    <a:lnTo>
                      <a:pt x="408" y="0"/>
                    </a:lnTo>
                    <a:lnTo>
                      <a:pt x="534" y="0"/>
                    </a:lnTo>
                    <a:lnTo>
                      <a:pt x="534" y="536"/>
                    </a:lnTo>
                    <a:lnTo>
                      <a:pt x="418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78" name="Freeform 10"/>
              <p:cNvSpPr>
                <a:spLocks/>
              </p:cNvSpPr>
              <p:nvPr userDrawn="1"/>
            </p:nvSpPr>
            <p:spPr bwMode="gray">
              <a:xfrm>
                <a:off x="4535488" y="2139950"/>
                <a:ext cx="781050" cy="850900"/>
              </a:xfrm>
              <a:custGeom>
                <a:avLst/>
                <a:gdLst/>
                <a:ahLst/>
                <a:cxnLst>
                  <a:cxn ang="0">
                    <a:pos x="392" y="536"/>
                  </a:cxn>
                  <a:cxn ang="0">
                    <a:pos x="118" y="194"/>
                  </a:cxn>
                  <a:cxn ang="0">
                    <a:pos x="118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6" y="330"/>
                  </a:cxn>
                  <a:cxn ang="0">
                    <a:pos x="376" y="0"/>
                  </a:cxn>
                  <a:cxn ang="0">
                    <a:pos x="492" y="0"/>
                  </a:cxn>
                  <a:cxn ang="0">
                    <a:pos x="492" y="536"/>
                  </a:cxn>
                  <a:cxn ang="0">
                    <a:pos x="392" y="536"/>
                  </a:cxn>
                </a:cxnLst>
                <a:rect l="0" t="0" r="r" b="b"/>
                <a:pathLst>
                  <a:path w="492" h="536">
                    <a:moveTo>
                      <a:pt x="392" y="536"/>
                    </a:moveTo>
                    <a:lnTo>
                      <a:pt x="118" y="194"/>
                    </a:lnTo>
                    <a:lnTo>
                      <a:pt x="118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6" y="330"/>
                    </a:lnTo>
                    <a:lnTo>
                      <a:pt x="376" y="0"/>
                    </a:lnTo>
                    <a:lnTo>
                      <a:pt x="492" y="0"/>
                    </a:lnTo>
                    <a:lnTo>
                      <a:pt x="492" y="536"/>
                    </a:lnTo>
                    <a:lnTo>
                      <a:pt x="392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79" name="Freeform 11"/>
              <p:cNvSpPr>
                <a:spLocks/>
              </p:cNvSpPr>
              <p:nvPr userDrawn="1"/>
            </p:nvSpPr>
            <p:spPr bwMode="gray">
              <a:xfrm>
                <a:off x="5475288" y="2139950"/>
                <a:ext cx="777875" cy="850900"/>
              </a:xfrm>
              <a:custGeom>
                <a:avLst/>
                <a:gdLst/>
                <a:ahLst/>
                <a:cxnLst>
                  <a:cxn ang="0">
                    <a:pos x="390" y="536"/>
                  </a:cxn>
                  <a:cxn ang="0">
                    <a:pos x="116" y="194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4" y="330"/>
                  </a:cxn>
                  <a:cxn ang="0">
                    <a:pos x="374" y="0"/>
                  </a:cxn>
                  <a:cxn ang="0">
                    <a:pos x="490" y="0"/>
                  </a:cxn>
                  <a:cxn ang="0">
                    <a:pos x="490" y="536"/>
                  </a:cxn>
                  <a:cxn ang="0">
                    <a:pos x="390" y="536"/>
                  </a:cxn>
                </a:cxnLst>
                <a:rect l="0" t="0" r="r" b="b"/>
                <a:pathLst>
                  <a:path w="490" h="536">
                    <a:moveTo>
                      <a:pt x="390" y="536"/>
                    </a:moveTo>
                    <a:lnTo>
                      <a:pt x="116" y="194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4" y="330"/>
                    </a:lnTo>
                    <a:lnTo>
                      <a:pt x="374" y="0"/>
                    </a:lnTo>
                    <a:lnTo>
                      <a:pt x="490" y="0"/>
                    </a:lnTo>
                    <a:lnTo>
                      <a:pt x="490" y="536"/>
                    </a:lnTo>
                    <a:lnTo>
                      <a:pt x="390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80" name="Freeform 12"/>
              <p:cNvSpPr>
                <a:spLocks/>
              </p:cNvSpPr>
              <p:nvPr userDrawn="1"/>
            </p:nvSpPr>
            <p:spPr bwMode="gray">
              <a:xfrm>
                <a:off x="4446588" y="3159125"/>
                <a:ext cx="822325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58" y="414"/>
                  </a:cxn>
                  <a:cxn ang="0">
                    <a:pos x="256" y="414"/>
                  </a:cxn>
                  <a:cxn ang="0">
                    <a:pos x="114" y="188"/>
                  </a:cxn>
                  <a:cxn ang="0">
                    <a:pos x="114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58" y="226"/>
                  </a:cxn>
                  <a:cxn ang="0">
                    <a:pos x="392" y="0"/>
                  </a:cxn>
                  <a:cxn ang="0">
                    <a:pos x="518" y="0"/>
                  </a:cxn>
                  <a:cxn ang="0">
                    <a:pos x="518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18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58" y="414"/>
                    </a:lnTo>
                    <a:lnTo>
                      <a:pt x="256" y="414"/>
                    </a:lnTo>
                    <a:lnTo>
                      <a:pt x="114" y="188"/>
                    </a:lnTo>
                    <a:lnTo>
                      <a:pt x="114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58" y="226"/>
                    </a:lnTo>
                    <a:lnTo>
                      <a:pt x="392" y="0"/>
                    </a:lnTo>
                    <a:lnTo>
                      <a:pt x="518" y="0"/>
                    </a:lnTo>
                    <a:lnTo>
                      <a:pt x="518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81" name="Freeform 13"/>
              <p:cNvSpPr>
                <a:spLocks/>
              </p:cNvSpPr>
              <p:nvPr userDrawn="1"/>
            </p:nvSpPr>
            <p:spPr bwMode="gray">
              <a:xfrm>
                <a:off x="5430838" y="3159125"/>
                <a:ext cx="825500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60" y="414"/>
                  </a:cxn>
                  <a:cxn ang="0">
                    <a:pos x="258" y="414"/>
                  </a:cxn>
                  <a:cxn ang="0">
                    <a:pos x="116" y="188"/>
                  </a:cxn>
                  <a:cxn ang="0">
                    <a:pos x="116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8" y="0"/>
                  </a:cxn>
                  <a:cxn ang="0">
                    <a:pos x="260" y="226"/>
                  </a:cxn>
                  <a:cxn ang="0">
                    <a:pos x="392" y="0"/>
                  </a:cxn>
                  <a:cxn ang="0">
                    <a:pos x="520" y="0"/>
                  </a:cxn>
                  <a:cxn ang="0">
                    <a:pos x="520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20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60" y="414"/>
                    </a:lnTo>
                    <a:lnTo>
                      <a:pt x="258" y="414"/>
                    </a:lnTo>
                    <a:lnTo>
                      <a:pt x="116" y="188"/>
                    </a:lnTo>
                    <a:lnTo>
                      <a:pt x="116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8" y="0"/>
                    </a:lnTo>
                    <a:lnTo>
                      <a:pt x="260" y="226"/>
                    </a:lnTo>
                    <a:lnTo>
                      <a:pt x="392" y="0"/>
                    </a:lnTo>
                    <a:lnTo>
                      <a:pt x="520" y="0"/>
                    </a:lnTo>
                    <a:lnTo>
                      <a:pt x="520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82" name="Freeform 14"/>
              <p:cNvSpPr>
                <a:spLocks/>
              </p:cNvSpPr>
              <p:nvPr userDrawn="1"/>
            </p:nvSpPr>
            <p:spPr bwMode="gray">
              <a:xfrm>
                <a:off x="6415088" y="3159125"/>
                <a:ext cx="650875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410" y="0"/>
                  </a:cxn>
                  <a:cxn ang="0">
                    <a:pos x="410" y="104"/>
                  </a:cxn>
                  <a:cxn ang="0">
                    <a:pos x="118" y="104"/>
                  </a:cxn>
                  <a:cxn ang="0">
                    <a:pos x="118" y="212"/>
                  </a:cxn>
                  <a:cxn ang="0">
                    <a:pos x="378" y="212"/>
                  </a:cxn>
                  <a:cxn ang="0">
                    <a:pos x="378" y="318"/>
                  </a:cxn>
                  <a:cxn ang="0">
                    <a:pos x="118" y="318"/>
                  </a:cxn>
                  <a:cxn ang="0">
                    <a:pos x="118" y="430"/>
                  </a:cxn>
                  <a:cxn ang="0">
                    <a:pos x="410" y="430"/>
                  </a:cxn>
                  <a:cxn ang="0">
                    <a:pos x="410" y="534"/>
                  </a:cxn>
                  <a:cxn ang="0">
                    <a:pos x="0" y="534"/>
                  </a:cxn>
                </a:cxnLst>
                <a:rect l="0" t="0" r="r" b="b"/>
                <a:pathLst>
                  <a:path w="410" h="534">
                    <a:moveTo>
                      <a:pt x="0" y="534"/>
                    </a:moveTo>
                    <a:lnTo>
                      <a:pt x="0" y="0"/>
                    </a:lnTo>
                    <a:lnTo>
                      <a:pt x="410" y="0"/>
                    </a:lnTo>
                    <a:lnTo>
                      <a:pt x="410" y="104"/>
                    </a:lnTo>
                    <a:lnTo>
                      <a:pt x="118" y="104"/>
                    </a:lnTo>
                    <a:lnTo>
                      <a:pt x="118" y="212"/>
                    </a:lnTo>
                    <a:lnTo>
                      <a:pt x="378" y="212"/>
                    </a:lnTo>
                    <a:lnTo>
                      <a:pt x="378" y="318"/>
                    </a:lnTo>
                    <a:lnTo>
                      <a:pt x="118" y="318"/>
                    </a:lnTo>
                    <a:lnTo>
                      <a:pt x="118" y="430"/>
                    </a:lnTo>
                    <a:lnTo>
                      <a:pt x="410" y="430"/>
                    </a:lnTo>
                    <a:lnTo>
                      <a:pt x="410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83" name="Freeform 15"/>
              <p:cNvSpPr>
                <a:spLocks/>
              </p:cNvSpPr>
              <p:nvPr userDrawn="1"/>
            </p:nvSpPr>
            <p:spPr bwMode="gray">
              <a:xfrm>
                <a:off x="7227888" y="3159125"/>
                <a:ext cx="609600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116" y="0"/>
                  </a:cxn>
                  <a:cxn ang="0">
                    <a:pos x="116" y="428"/>
                  </a:cxn>
                  <a:cxn ang="0">
                    <a:pos x="384" y="428"/>
                  </a:cxn>
                  <a:cxn ang="0">
                    <a:pos x="384" y="534"/>
                  </a:cxn>
                  <a:cxn ang="0">
                    <a:pos x="0" y="534"/>
                  </a:cxn>
                </a:cxnLst>
                <a:rect l="0" t="0" r="r" b="b"/>
                <a:pathLst>
                  <a:path w="384" h="534">
                    <a:moveTo>
                      <a:pt x="0" y="534"/>
                    </a:moveTo>
                    <a:lnTo>
                      <a:pt x="0" y="0"/>
                    </a:lnTo>
                    <a:lnTo>
                      <a:pt x="116" y="0"/>
                    </a:lnTo>
                    <a:lnTo>
                      <a:pt x="116" y="428"/>
                    </a:lnTo>
                    <a:lnTo>
                      <a:pt x="384" y="428"/>
                    </a:lnTo>
                    <a:lnTo>
                      <a:pt x="384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84" name="Freeform 16"/>
              <p:cNvSpPr>
                <a:spLocks noEditPoints="1"/>
              </p:cNvSpPr>
              <p:nvPr userDrawn="1"/>
            </p:nvSpPr>
            <p:spPr bwMode="gray">
              <a:xfrm>
                <a:off x="3548063" y="2133600"/>
                <a:ext cx="911225" cy="857250"/>
              </a:xfrm>
              <a:custGeom>
                <a:avLst/>
                <a:gdLst/>
                <a:ahLst/>
                <a:cxnLst>
                  <a:cxn ang="0">
                    <a:pos x="212" y="316"/>
                  </a:cxn>
                  <a:cxn ang="0">
                    <a:pos x="286" y="142"/>
                  </a:cxn>
                  <a:cxn ang="0">
                    <a:pos x="360" y="316"/>
                  </a:cxn>
                  <a:cxn ang="0">
                    <a:pos x="212" y="316"/>
                  </a:cxn>
                  <a:cxn ang="0">
                    <a:pos x="342" y="0"/>
                  </a:cxn>
                  <a:cxn ang="0">
                    <a:pos x="232" y="0"/>
                  </a:cxn>
                  <a:cxn ang="0">
                    <a:pos x="0" y="540"/>
                  </a:cxn>
                  <a:cxn ang="0">
                    <a:pos x="120" y="540"/>
                  </a:cxn>
                  <a:cxn ang="0">
                    <a:pos x="170" y="420"/>
                  </a:cxn>
                  <a:cxn ang="0">
                    <a:pos x="402" y="420"/>
                  </a:cxn>
                  <a:cxn ang="0">
                    <a:pos x="452" y="540"/>
                  </a:cxn>
                  <a:cxn ang="0">
                    <a:pos x="574" y="540"/>
                  </a:cxn>
                  <a:cxn ang="0">
                    <a:pos x="342" y="0"/>
                  </a:cxn>
                </a:cxnLst>
                <a:rect l="0" t="0" r="r" b="b"/>
                <a:pathLst>
                  <a:path w="574" h="540">
                    <a:moveTo>
                      <a:pt x="212" y="316"/>
                    </a:moveTo>
                    <a:lnTo>
                      <a:pt x="286" y="142"/>
                    </a:lnTo>
                    <a:lnTo>
                      <a:pt x="360" y="316"/>
                    </a:lnTo>
                    <a:lnTo>
                      <a:pt x="212" y="316"/>
                    </a:lnTo>
                    <a:close/>
                    <a:moveTo>
                      <a:pt x="342" y="0"/>
                    </a:moveTo>
                    <a:lnTo>
                      <a:pt x="232" y="0"/>
                    </a:lnTo>
                    <a:lnTo>
                      <a:pt x="0" y="540"/>
                    </a:lnTo>
                    <a:lnTo>
                      <a:pt x="120" y="540"/>
                    </a:lnTo>
                    <a:lnTo>
                      <a:pt x="170" y="420"/>
                    </a:lnTo>
                    <a:lnTo>
                      <a:pt x="402" y="420"/>
                    </a:lnTo>
                    <a:lnTo>
                      <a:pt x="452" y="540"/>
                    </a:lnTo>
                    <a:lnTo>
                      <a:pt x="574" y="540"/>
                    </a:lnTo>
                    <a:lnTo>
                      <a:pt x="3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85" name="Freeform 17"/>
              <p:cNvSpPr>
                <a:spLocks/>
              </p:cNvSpPr>
              <p:nvPr userDrawn="1"/>
            </p:nvSpPr>
            <p:spPr bwMode="gray">
              <a:xfrm>
                <a:off x="6538913" y="2139950"/>
                <a:ext cx="873125" cy="850900"/>
              </a:xfrm>
              <a:custGeom>
                <a:avLst/>
                <a:gdLst/>
                <a:ahLst/>
                <a:cxnLst>
                  <a:cxn ang="0">
                    <a:pos x="550" y="212"/>
                  </a:cxn>
                  <a:cxn ang="0">
                    <a:pos x="332" y="212"/>
                  </a:cxn>
                  <a:cxn ang="0">
                    <a:pos x="332" y="0"/>
                  </a:cxn>
                  <a:cxn ang="0">
                    <a:pos x="220" y="0"/>
                  </a:cxn>
                  <a:cxn ang="0">
                    <a:pos x="220" y="212"/>
                  </a:cxn>
                  <a:cxn ang="0">
                    <a:pos x="0" y="212"/>
                  </a:cxn>
                  <a:cxn ang="0">
                    <a:pos x="0" y="322"/>
                  </a:cxn>
                  <a:cxn ang="0">
                    <a:pos x="220" y="322"/>
                  </a:cxn>
                  <a:cxn ang="0">
                    <a:pos x="220" y="536"/>
                  </a:cxn>
                  <a:cxn ang="0">
                    <a:pos x="332" y="536"/>
                  </a:cxn>
                  <a:cxn ang="0">
                    <a:pos x="332" y="322"/>
                  </a:cxn>
                  <a:cxn ang="0">
                    <a:pos x="550" y="322"/>
                  </a:cxn>
                  <a:cxn ang="0">
                    <a:pos x="550" y="212"/>
                  </a:cxn>
                </a:cxnLst>
                <a:rect l="0" t="0" r="r" b="b"/>
                <a:pathLst>
                  <a:path w="550" h="536">
                    <a:moveTo>
                      <a:pt x="550" y="212"/>
                    </a:moveTo>
                    <a:lnTo>
                      <a:pt x="332" y="212"/>
                    </a:lnTo>
                    <a:lnTo>
                      <a:pt x="332" y="0"/>
                    </a:lnTo>
                    <a:lnTo>
                      <a:pt x="220" y="0"/>
                    </a:lnTo>
                    <a:lnTo>
                      <a:pt x="220" y="212"/>
                    </a:lnTo>
                    <a:lnTo>
                      <a:pt x="0" y="212"/>
                    </a:lnTo>
                    <a:lnTo>
                      <a:pt x="0" y="322"/>
                    </a:lnTo>
                    <a:lnTo>
                      <a:pt x="220" y="322"/>
                    </a:lnTo>
                    <a:lnTo>
                      <a:pt x="220" y="536"/>
                    </a:lnTo>
                    <a:lnTo>
                      <a:pt x="332" y="536"/>
                    </a:lnTo>
                    <a:lnTo>
                      <a:pt x="332" y="322"/>
                    </a:lnTo>
                    <a:lnTo>
                      <a:pt x="550" y="322"/>
                    </a:lnTo>
                    <a:lnTo>
                      <a:pt x="550" y="2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</p:grpSp>
      </p:grpSp>
      <p:sp>
        <p:nvSpPr>
          <p:cNvPr id="86" name="Textplatzhalter 2"/>
          <p:cNvSpPr>
            <a:spLocks noGrp="1"/>
          </p:cNvSpPr>
          <p:nvPr>
            <p:ph type="body" sz="quarter" idx="21" hasCustomPrompt="1"/>
          </p:nvPr>
        </p:nvSpPr>
        <p:spPr bwMode="gray">
          <a:xfrm rot="21180000">
            <a:off x="6343594" y="3288704"/>
            <a:ext cx="3709015" cy="251546"/>
          </a:xfrm>
        </p:spPr>
        <p:txBody>
          <a:bodyPr anchor="b">
            <a:normAutofit/>
          </a:bodyPr>
          <a:lstStyle>
            <a:lvl1pPr marL="0">
              <a:spcAft>
                <a:spcPts val="0"/>
              </a:spcAft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9pPr>
          </a:lstStyle>
          <a:p>
            <a:pPr lvl="0"/>
            <a:r>
              <a:rPr lang="en-US" noProof="0"/>
              <a:t>Position</a:t>
            </a:r>
          </a:p>
        </p:txBody>
      </p:sp>
      <p:sp>
        <p:nvSpPr>
          <p:cNvPr id="88" name="Textplatzhalter 3"/>
          <p:cNvSpPr>
            <a:spLocks noGrp="1"/>
          </p:cNvSpPr>
          <p:nvPr>
            <p:ph type="body" sz="quarter" idx="22" hasCustomPrompt="1"/>
          </p:nvPr>
        </p:nvSpPr>
        <p:spPr bwMode="gray">
          <a:xfrm rot="21179971">
            <a:off x="6425855" y="3791481"/>
            <a:ext cx="1531791" cy="767067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/>
              <a:t>MANN+HUMMEL</a:t>
            </a:r>
            <a:br>
              <a:rPr lang="en-US" noProof="0"/>
            </a:br>
            <a:r>
              <a:rPr lang="en-US" noProof="0"/>
              <a:t>Address</a:t>
            </a:r>
          </a:p>
        </p:txBody>
      </p:sp>
      <p:sp>
        <p:nvSpPr>
          <p:cNvPr id="89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 rot="21179971">
            <a:off x="7985746" y="3563963"/>
            <a:ext cx="2142240" cy="767067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tabLst>
                <a:tab pos="449128" algn="l"/>
              </a:tabLst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/>
              <a:t>Phone   +xx </a:t>
            </a:r>
            <a:r>
              <a:rPr lang="en-US" noProof="0" err="1"/>
              <a:t>xxxx</a:t>
            </a:r>
            <a:r>
              <a:rPr lang="en-US" noProof="0"/>
              <a:t> xx-xx</a:t>
            </a:r>
            <a:br>
              <a:rPr lang="en-US" noProof="0"/>
            </a:br>
            <a:r>
              <a:rPr lang="en-US" noProof="0"/>
              <a:t>Fax        +xx </a:t>
            </a:r>
            <a:r>
              <a:rPr lang="en-US" noProof="0" err="1"/>
              <a:t>xxxx</a:t>
            </a:r>
            <a:r>
              <a:rPr lang="en-US" noProof="0"/>
              <a:t> xx-xx</a:t>
            </a:r>
            <a:br>
              <a:rPr lang="en-US" noProof="0"/>
            </a:br>
            <a:r>
              <a:rPr lang="en-US" noProof="0"/>
              <a:t>Mobile    +xx </a:t>
            </a:r>
            <a:r>
              <a:rPr lang="en-US" noProof="0" err="1"/>
              <a:t>xxxx</a:t>
            </a:r>
            <a:r>
              <a:rPr lang="en-US" noProof="0"/>
              <a:t> xx xxx</a:t>
            </a:r>
            <a:br>
              <a:rPr lang="en-US" noProof="0"/>
            </a:br>
            <a:r>
              <a:rPr lang="en-US" noProof="0"/>
              <a:t>max.mustermann@mann-hummel.com</a:t>
            </a:r>
            <a:br>
              <a:rPr lang="en-US" noProof="0"/>
            </a:br>
            <a:r>
              <a:rPr lang="en-US" noProof="0"/>
              <a:t>www.mann-hummel.com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4" hasCustomPrompt="1"/>
          </p:nvPr>
        </p:nvSpPr>
        <p:spPr>
          <a:xfrm rot="21180000">
            <a:off x="6303251" y="2859179"/>
            <a:ext cx="3706682" cy="431800"/>
          </a:xfrm>
        </p:spPr>
        <p:txBody>
          <a:bodyPr anchor="b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Name Surname</a:t>
            </a:r>
          </a:p>
        </p:txBody>
      </p:sp>
    </p:spTree>
    <p:extLst>
      <p:ext uri="{BB962C8B-B14F-4D97-AF65-F5344CB8AC3E}">
        <p14:creationId xmlns:p14="http://schemas.microsoft.com/office/powerpoint/2010/main" val="221001947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7995" y="188913"/>
            <a:ext cx="11804751" cy="5761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4153033" y="2761657"/>
            <a:ext cx="6694257" cy="615553"/>
          </a:xfrm>
          <a:noFill/>
        </p:spPr>
        <p:txBody>
          <a:bodyPr anchor="ctr"/>
          <a:lstStyle>
            <a:lvl1pPr algn="l">
              <a:defRPr sz="3999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&lt;Thank you!&gt;</a:t>
            </a:r>
          </a:p>
        </p:txBody>
      </p:sp>
      <p:sp>
        <p:nvSpPr>
          <p:cNvPr id="13" name="Rechteck 12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noProof="0">
              <a:solidFill>
                <a:schemeClr val="bg1"/>
              </a:solidFill>
            </a:endParaRPr>
          </a:p>
        </p:txBody>
      </p:sp>
      <p:pic>
        <p:nvPicPr>
          <p:cNvPr id="9" name="Picture 8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24" y="6510889"/>
            <a:ext cx="1529602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6179472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-Small/Background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AE332F-CB2A-466F-9CE9-7B11085E18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4" imgH="384" progId="TCLayout.ActiveDocument.1">
                  <p:embed/>
                </p:oleObj>
              </mc:Choice>
              <mc:Fallback>
                <p:oleObj name="think-cell Folie" r:id="rId3" imgW="384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AE332F-CB2A-466F-9CE9-7B11085E18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>
          <a:xfrm>
            <a:off x="1" y="0"/>
            <a:ext cx="4872038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799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0863" y="915075"/>
            <a:ext cx="3816350" cy="561414"/>
          </a:xfrm>
        </p:spPr>
        <p:txBody>
          <a:bodyPr vert="horz" bIns="180000" anchor="t" anchorCtr="0"/>
          <a:lstStyle>
            <a:lvl1pPr algn="r" rtl="0">
              <a:defRPr sz="2399"/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0863" y="549275"/>
            <a:ext cx="3816351" cy="153888"/>
          </a:xfrm>
        </p:spPr>
        <p:txBody>
          <a:bodyPr wrap="square">
            <a:spAutoFit/>
          </a:bodyPr>
          <a:lstStyle>
            <a:lvl1pPr marL="0" indent="0" algn="r" rtl="0">
              <a:buNone/>
              <a:defRPr sz="1000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OPTIONAL OVERLIN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6096000" y="6294877"/>
            <a:ext cx="4962144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pt-BR"/>
              <a:t>MANN+HUMMEL // Project Proposal // Mar 10, 2021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11427981" y="6294877"/>
            <a:ext cx="426315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D11B86CD-879F-6340-9D4A-363AC593F2F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3" hasCustomPrompt="1"/>
          </p:nvPr>
        </p:nvSpPr>
        <p:spPr>
          <a:xfrm>
            <a:off x="5411788" y="549275"/>
            <a:ext cx="6229350" cy="5543550"/>
          </a:xfrm>
        </p:spPr>
        <p:txBody>
          <a:bodyPr/>
          <a:lstStyle>
            <a:lvl1pPr marL="171399" indent="-171399" rtl="0">
              <a:buClr>
                <a:schemeClr val="accent1"/>
              </a:buClr>
              <a:buFont typeface="Symbol" pitchFamily="2" charset="2"/>
              <a:buChar char="-"/>
              <a:defRPr/>
            </a:lvl1pPr>
            <a:lvl2pPr marL="457063" indent="-171399" rtl="0">
              <a:lnSpc>
                <a:spcPts val="1400"/>
              </a:lnSpc>
              <a:spcBef>
                <a:spcPts val="400"/>
              </a:spcBef>
              <a:buFont typeface="Symbol" pitchFamily="2" charset="2"/>
              <a:buChar char="-"/>
              <a:defRPr b="0"/>
            </a:lvl2pPr>
          </a:lstStyle>
          <a:p>
            <a:pPr lvl="0"/>
            <a:r>
              <a:rPr lang="en-US"/>
              <a:t>Placeholder content</a:t>
            </a:r>
          </a:p>
          <a:p>
            <a:pPr lvl="1"/>
            <a:r>
              <a:rPr lang="en-US"/>
              <a:t>Placeholder content</a:t>
            </a:r>
          </a:p>
          <a:p>
            <a:pPr lvl="1"/>
            <a:r>
              <a:rPr lang="en-US"/>
              <a:t>Placeholder content</a:t>
            </a: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1800002"/>
            <a:ext cx="3816350" cy="4292825"/>
          </a:xfrm>
        </p:spPr>
        <p:txBody>
          <a:bodyPr>
            <a:noAutofit/>
          </a:bodyPr>
          <a:lstStyle>
            <a:lvl1pPr marL="0" indent="0" algn="r" rtl="0">
              <a:buClr>
                <a:srgbClr val="F08800"/>
              </a:buClr>
              <a:buFont typeface="Symbol" pitchFamily="2" charset="2"/>
              <a:buNone/>
              <a:defRPr b="0"/>
            </a:lvl1pPr>
            <a:lvl2pPr marL="628461" indent="-171399" algn="r">
              <a:buClr>
                <a:srgbClr val="F08800"/>
              </a:buClr>
              <a:buFont typeface="Symbol" pitchFamily="2" charset="2"/>
              <a:buChar char="-"/>
              <a:defRPr b="0"/>
            </a:lvl2pPr>
            <a:lvl3pPr marL="914126" indent="0" algn="r">
              <a:buFont typeface="Symbol" pitchFamily="2" charset="2"/>
              <a:buNone/>
              <a:defRPr b="0"/>
            </a:lvl3pPr>
          </a:lstStyle>
          <a:p>
            <a:pPr marL="171399" marR="0" lvl="0" indent="-171399" algn="r" defTabSz="914126" rtl="0" eaLnBrk="1" fontAlgn="auto" latinLnBrk="0" hangingPunct="1">
              <a:lnSpc>
                <a:spcPts val="14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Placeholder text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048" y="6294875"/>
            <a:ext cx="576000" cy="263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81981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69">
          <p15:clr>
            <a:srgbClr val="FBAE40"/>
          </p15:clr>
        </p15:guide>
        <p15:guide id="2" pos="347">
          <p15:clr>
            <a:srgbClr val="FBAE40"/>
          </p15:clr>
        </p15:guide>
        <p15:guide id="3" pos="3409">
          <p15:clr>
            <a:srgbClr val="FBAE40"/>
          </p15:clr>
        </p15:guide>
        <p15:guide id="4" pos="7333">
          <p15:clr>
            <a:srgbClr val="FBAE40"/>
          </p15:clr>
        </p15:guide>
        <p15:guide id="6" orient="horz" pos="346">
          <p15:clr>
            <a:srgbClr val="FBAE40"/>
          </p15:clr>
        </p15:guide>
        <p15:guide id="7" orient="horz" pos="3838">
          <p15:clr>
            <a:srgbClr val="FBAE40"/>
          </p15:clr>
        </p15:guide>
        <p15:guide id="8" pos="275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7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7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7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7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7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7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7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7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7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Optional subtitle (in max. 1 line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Slide title (2 lines | max. 1 line with subtitle)</a:t>
            </a:r>
            <a:endParaRPr lang="en-US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552827" y="1700808"/>
            <a:ext cx="10293319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You can use this field to enter text, a table, a diagram or </a:t>
            </a:r>
            <a:r>
              <a:rPr lang="en-US" err="1"/>
              <a:t>SmartArts</a:t>
            </a:r>
            <a:r>
              <a:rPr lang="en-US"/>
              <a:t>. Use the buttons “Increase List Level” for </a:t>
            </a:r>
            <a:r>
              <a:rPr lang="en-US" err="1"/>
              <a:t>copytext</a:t>
            </a:r>
            <a:r>
              <a:rPr lang="en-US"/>
              <a:t> or bullet levels. Use the icons below to create visual content.</a:t>
            </a:r>
          </a:p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4831557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13"/>
          <p:cNvSpPr/>
          <p:nvPr userDrawn="1"/>
        </p:nvSpPr>
        <p:spPr bwMode="gray">
          <a:xfrm>
            <a:off x="193624" y="6237312"/>
            <a:ext cx="10077752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dirty="0" err="1">
              <a:solidFill>
                <a:schemeClr val="bg1"/>
              </a:solidFill>
            </a:endParaRPr>
          </a:p>
        </p:txBody>
      </p:sp>
      <p:pic>
        <p:nvPicPr>
          <p:cNvPr id="3199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7995" y="188914"/>
            <a:ext cx="11804751" cy="5761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el 1"/>
          <p:cNvSpPr>
            <a:spLocks noGrp="1" noChangeAspect="1"/>
          </p:cNvSpPr>
          <p:nvPr>
            <p:ph type="ctrTitle" hasCustomPrompt="1"/>
          </p:nvPr>
        </p:nvSpPr>
        <p:spPr bwMode="gray">
          <a:xfrm>
            <a:off x="4224279" y="1196752"/>
            <a:ext cx="3743441" cy="3744416"/>
          </a:xfrm>
          <a:blipFill>
            <a:blip r:embed="rId3"/>
            <a:stretch>
              <a:fillRect/>
            </a:stretch>
          </a:blipFill>
        </p:spPr>
        <p:txBody>
          <a:bodyPr lIns="180000" tIns="144000" rIns="180000" bIns="144000">
            <a:noAutofit/>
          </a:bodyPr>
          <a:lstStyle>
            <a:lvl1pPr>
              <a:defRPr sz="2799" baseline="0"/>
            </a:lvl1pPr>
          </a:lstStyle>
          <a:p>
            <a:r>
              <a:rPr lang="en-US" dirty="0"/>
              <a:t>Title of presentation (M+H green &amp;     M+H light-green) </a:t>
            </a:r>
          </a:p>
        </p:txBody>
      </p:sp>
      <p:pic>
        <p:nvPicPr>
          <p:cNvPr id="3157" name="Picture 85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24" y="6510889"/>
            <a:ext cx="1529602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Textplatzhalter 2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24279" y="4581128"/>
            <a:ext cx="3743441" cy="360040"/>
          </a:xfrm>
        </p:spPr>
        <p:txBody>
          <a:bodyPr lIns="180000" rIns="180000" anchor="t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00"/>
            </a:lvl1pPr>
            <a:lvl2pPr marL="0" indent="0">
              <a:spcAft>
                <a:spcPts val="0"/>
              </a:spcAft>
              <a:buNone/>
              <a:defRPr sz="1400"/>
            </a:lvl2pPr>
            <a:lvl3pPr marL="0" indent="0">
              <a:spcAft>
                <a:spcPts val="0"/>
              </a:spcAft>
              <a:buNone/>
              <a:defRPr sz="1400"/>
            </a:lvl3pPr>
            <a:lvl4pPr marL="0" indent="0">
              <a:spcAft>
                <a:spcPts val="0"/>
              </a:spcAft>
              <a:buNone/>
              <a:defRPr sz="1400"/>
            </a:lvl4pPr>
            <a:lvl5pPr marL="0" indent="0">
              <a:spcAft>
                <a:spcPts val="0"/>
              </a:spcAft>
              <a:buNone/>
              <a:defRPr sz="1400"/>
            </a:lvl5pPr>
            <a:lvl6pPr marL="0" indent="0">
              <a:spcAft>
                <a:spcPts val="0"/>
              </a:spcAft>
              <a:buNone/>
              <a:defRPr sz="1400"/>
            </a:lvl6pPr>
            <a:lvl7pPr marL="0" indent="0">
              <a:spcAft>
                <a:spcPts val="0"/>
              </a:spcAft>
              <a:buNone/>
              <a:defRPr sz="1400"/>
            </a:lvl7pPr>
            <a:lvl8pPr marL="0" indent="0">
              <a:spcAft>
                <a:spcPts val="0"/>
              </a:spcAft>
              <a:buNone/>
              <a:defRPr sz="1400"/>
            </a:lvl8pPr>
            <a:lvl9pPr marL="0" indent="0">
              <a:spcAft>
                <a:spcPts val="0"/>
              </a:spcAft>
              <a:buNone/>
              <a:defRPr sz="1400"/>
            </a:lvl9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24279" y="4077072"/>
            <a:ext cx="3743441" cy="504056"/>
          </a:xfrm>
        </p:spPr>
        <p:txBody>
          <a:bodyPr lIns="180000" rIns="180000" anchor="b">
            <a:noAutofit/>
          </a:bodyPr>
          <a:lstStyle>
            <a:lvl1pPr marL="0" indent="0" algn="l">
              <a:spcBef>
                <a:spcPts val="200"/>
              </a:spcBef>
              <a:spcAft>
                <a:spcPts val="0"/>
              </a:spcAft>
              <a:buNone/>
              <a:defRPr sz="1400" baseline="0">
                <a:solidFill>
                  <a:schemeClr val="tx1"/>
                </a:solidFill>
              </a:defRPr>
            </a:lvl1pPr>
            <a:lvl2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2pPr>
            <a:lvl3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3pPr>
            <a:lvl4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5pPr>
            <a:lvl6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6pPr>
            <a:lvl7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7pPr>
            <a:lvl8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8pPr>
            <a:lvl9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Author</a:t>
            </a:r>
            <a:br>
              <a:rPr lang="en-US" dirty="0"/>
            </a:br>
            <a:r>
              <a:rPr lang="en-US" dirty="0"/>
              <a:t>Place</a:t>
            </a:r>
          </a:p>
        </p:txBody>
      </p:sp>
    </p:spTree>
    <p:extLst>
      <p:ext uri="{BB962C8B-B14F-4D97-AF65-F5344CB8AC3E}">
        <p14:creationId xmlns:p14="http://schemas.microsoft.com/office/powerpoint/2010/main" val="245559884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7995" y="188914"/>
            <a:ext cx="11804751" cy="5761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7"/>
          <p:cNvSpPr>
            <a:spLocks noChangeAspect="1"/>
          </p:cNvSpPr>
          <p:nvPr/>
        </p:nvSpPr>
        <p:spPr bwMode="gray">
          <a:xfrm flipH="1">
            <a:off x="88647" y="800720"/>
            <a:ext cx="104249" cy="108000"/>
          </a:xfrm>
          <a:custGeom>
            <a:avLst/>
            <a:gdLst/>
            <a:ahLst/>
            <a:cxnLst>
              <a:cxn ang="0">
                <a:pos x="56" y="58"/>
              </a:cxn>
              <a:cxn ang="0">
                <a:pos x="0" y="0"/>
              </a:cxn>
              <a:cxn ang="0">
                <a:pos x="0" y="58"/>
              </a:cxn>
              <a:cxn ang="0">
                <a:pos x="56" y="58"/>
              </a:cxn>
            </a:cxnLst>
            <a:rect l="0" t="0" r="r" b="b"/>
            <a:pathLst>
              <a:path w="56" h="58">
                <a:moveTo>
                  <a:pt x="56" y="58"/>
                </a:moveTo>
                <a:lnTo>
                  <a:pt x="0" y="0"/>
                </a:lnTo>
                <a:lnTo>
                  <a:pt x="0" y="58"/>
                </a:lnTo>
                <a:lnTo>
                  <a:pt x="56" y="58"/>
                </a:lnTo>
                <a:close/>
              </a:path>
            </a:pathLst>
          </a:custGeom>
          <a:solidFill>
            <a:schemeClr val="bg2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algn="r"/>
            <a:endParaRPr lang="en-US" sz="1500" dirty="0">
              <a:solidFill>
                <a:schemeClr val="bg1"/>
              </a:solidFill>
            </a:endParaRP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8262" y="908840"/>
            <a:ext cx="1009364" cy="1032384"/>
          </a:xfrm>
          <a:solidFill>
            <a:srgbClr val="C2C2C2"/>
          </a:solidFill>
        </p:spPr>
        <p:txBody>
          <a:bodyPr wrap="none" lIns="432000" tIns="54000" rIns="144000" bIns="54000">
            <a:spAutoFit/>
          </a:bodyPr>
          <a:lstStyle>
            <a:lvl1pPr marL="0" algn="l">
              <a:spcAft>
                <a:spcPts val="0"/>
              </a:spcAft>
              <a:buFontTx/>
              <a:buNone/>
              <a:defRPr sz="5998">
                <a:solidFill>
                  <a:schemeClr val="bg1"/>
                </a:solidFill>
              </a:defRPr>
            </a:lvl1pPr>
            <a:lvl2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5pPr>
            <a:lvl6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6pPr>
            <a:lvl7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7pPr>
            <a:lvl8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8pPr>
            <a:lvl9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0</a:t>
            </a:r>
          </a:p>
        </p:txBody>
      </p:sp>
      <p:sp>
        <p:nvSpPr>
          <p:cNvPr id="17" name="Titel 16"/>
          <p:cNvSpPr>
            <a:spLocks noGrp="1"/>
          </p:cNvSpPr>
          <p:nvPr>
            <p:ph type="title" hasCustomPrompt="1"/>
          </p:nvPr>
        </p:nvSpPr>
        <p:spPr bwMode="gray">
          <a:xfrm>
            <a:off x="552827" y="3893569"/>
            <a:ext cx="10293319" cy="615553"/>
          </a:xfrm>
          <a:noFill/>
        </p:spPr>
        <p:txBody>
          <a:bodyPr anchor="b"/>
          <a:lstStyle>
            <a:lvl1pPr>
              <a:defRPr sz="39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hapter name</a:t>
            </a:r>
          </a:p>
        </p:txBody>
      </p:sp>
      <p:sp>
        <p:nvSpPr>
          <p:cNvPr id="14" name="Rechteck 13"/>
          <p:cNvSpPr/>
          <p:nvPr userDrawn="1"/>
        </p:nvSpPr>
        <p:spPr bwMode="gray">
          <a:xfrm>
            <a:off x="193624" y="6237312"/>
            <a:ext cx="10077752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dirty="0" err="1">
              <a:solidFill>
                <a:schemeClr val="bg1"/>
              </a:solidFill>
            </a:endParaRPr>
          </a:p>
        </p:txBody>
      </p:sp>
      <p:pic>
        <p:nvPicPr>
          <p:cNvPr id="18" name="Picture 8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24" y="6510889"/>
            <a:ext cx="1529602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52827" y="4725144"/>
            <a:ext cx="10293319" cy="936104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Short Summary to the next chapter (max. 3 lines)</a:t>
            </a:r>
          </a:p>
        </p:txBody>
      </p:sp>
    </p:spTree>
    <p:extLst>
      <p:ext uri="{BB962C8B-B14F-4D97-AF65-F5344CB8AC3E}">
        <p14:creationId xmlns:p14="http://schemas.microsoft.com/office/powerpoint/2010/main" val="318585526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ig pictur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93624" y="188914"/>
            <a:ext cx="11805494" cy="5761036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576000" anchor="ctr" anchorCtr="0">
            <a:normAutofit/>
          </a:bodyPr>
          <a:lstStyle>
            <a:lvl1pPr marL="0" marR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Insert a picture here</a:t>
            </a:r>
          </a:p>
        </p:txBody>
      </p:sp>
    </p:spTree>
    <p:extLst>
      <p:ext uri="{BB962C8B-B14F-4D97-AF65-F5344CB8AC3E}">
        <p14:creationId xmlns:p14="http://schemas.microsoft.com/office/powerpoint/2010/main" val="148715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 with vign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" r="3"/>
          <a:stretch>
            <a:fillRect/>
          </a:stretch>
        </p:blipFill>
        <p:spPr bwMode="gray">
          <a:xfrm>
            <a:off x="193624" y="188914"/>
            <a:ext cx="11805494" cy="5761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platzhalter 9"/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192880" y="188913"/>
            <a:ext cx="11805495" cy="5761038"/>
          </a:xfrm>
        </p:spPr>
        <p:txBody>
          <a:bodyPr lIns="360000" tIns="360000" rIns="360000" bIns="360000" anchor="ctr">
            <a:noAutofit/>
          </a:bodyPr>
          <a:lstStyle>
            <a:lvl1pPr marL="0" algn="ctr">
              <a:spcAft>
                <a:spcPts val="0"/>
              </a:spcAft>
              <a:buFontTx/>
              <a:buNone/>
              <a:defRPr sz="3199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 algn="ctr">
              <a:spcAft>
                <a:spcPts val="0"/>
              </a:spcAft>
              <a:buFontTx/>
              <a:buNone/>
              <a:defRPr sz="3199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0" indent="0" algn="ctr">
              <a:spcBef>
                <a:spcPts val="1799"/>
              </a:spcBef>
              <a:spcAft>
                <a:spcPts val="0"/>
              </a:spcAft>
              <a:buFontTx/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Big Text first line</a:t>
            </a:r>
          </a:p>
          <a:p>
            <a:pPr lvl="1"/>
            <a:r>
              <a:rPr lang="en-US" noProof="0" dirty="0"/>
              <a:t>Big Text second line</a:t>
            </a:r>
          </a:p>
          <a:p>
            <a:pPr lvl="2"/>
            <a:r>
              <a:rPr lang="en-US" noProof="0" dirty="0"/>
              <a:t>Author</a:t>
            </a:r>
          </a:p>
        </p:txBody>
      </p:sp>
    </p:spTree>
    <p:extLst>
      <p:ext uri="{BB962C8B-B14F-4D97-AF65-F5344CB8AC3E}">
        <p14:creationId xmlns:p14="http://schemas.microsoft.com/office/powerpoint/2010/main" val="30859055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noProof="0" dirty="0">
              <a:solidFill>
                <a:schemeClr val="bg1"/>
              </a:solidFill>
            </a:endParaRPr>
          </a:p>
        </p:txBody>
      </p:sp>
      <p:pic>
        <p:nvPicPr>
          <p:cNvPr id="32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7995" y="188913"/>
            <a:ext cx="11804751" cy="5761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uppierung 2"/>
          <p:cNvGrpSpPr>
            <a:grpSpLocks noChangeAspect="1"/>
          </p:cNvGrpSpPr>
          <p:nvPr userDrawn="1"/>
        </p:nvGrpSpPr>
        <p:grpSpPr bwMode="gray">
          <a:xfrm rot="21208675">
            <a:off x="2079149" y="1743277"/>
            <a:ext cx="4104875" cy="2659484"/>
            <a:chOff x="3013829" y="1420446"/>
            <a:chExt cx="3412817" cy="2210533"/>
          </a:xfrm>
        </p:grpSpPr>
        <p:sp>
          <p:nvSpPr>
            <p:cNvPr id="10" name="Rechteck 9"/>
            <p:cNvSpPr/>
            <p:nvPr/>
          </p:nvSpPr>
          <p:spPr bwMode="gray">
            <a:xfrm>
              <a:off x="3013829" y="1420446"/>
              <a:ext cx="3412817" cy="2210533"/>
            </a:xfrm>
            <a:prstGeom prst="rect">
              <a:avLst/>
            </a:prstGeom>
            <a:solidFill>
              <a:schemeClr val="bg1"/>
            </a:solidFill>
            <a:ln w="28575" cap="sq" cmpd="sng">
              <a:noFill/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99" noProof="0" dirty="0"/>
            </a:p>
          </p:txBody>
        </p:sp>
        <p:grpSp>
          <p:nvGrpSpPr>
            <p:cNvPr id="12" name="Gruppierung 17"/>
            <p:cNvGrpSpPr/>
            <p:nvPr userDrawn="1"/>
          </p:nvGrpSpPr>
          <p:grpSpPr bwMode="gray">
            <a:xfrm>
              <a:off x="5378643" y="1587443"/>
              <a:ext cx="883009" cy="319627"/>
              <a:chOff x="2627313" y="2133600"/>
              <a:chExt cx="5210175" cy="1885950"/>
            </a:xfrm>
            <a:solidFill>
              <a:schemeClr val="accent1"/>
            </a:solidFill>
          </p:grpSpPr>
          <p:sp>
            <p:nvSpPr>
              <p:cNvPr id="13" name="Freeform 6"/>
              <p:cNvSpPr>
                <a:spLocks/>
              </p:cNvSpPr>
              <p:nvPr userDrawn="1"/>
            </p:nvSpPr>
            <p:spPr bwMode="gray">
              <a:xfrm>
                <a:off x="2627313" y="3159125"/>
                <a:ext cx="749300" cy="847725"/>
              </a:xfrm>
              <a:custGeom>
                <a:avLst/>
                <a:gdLst/>
                <a:ahLst/>
                <a:cxnLst>
                  <a:cxn ang="0">
                    <a:pos x="354" y="534"/>
                  </a:cxn>
                  <a:cxn ang="0">
                    <a:pos x="354" y="320"/>
                  </a:cxn>
                  <a:cxn ang="0">
                    <a:pos x="118" y="320"/>
                  </a:cxn>
                  <a:cxn ang="0">
                    <a:pos x="118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18" y="0"/>
                  </a:cxn>
                  <a:cxn ang="0">
                    <a:pos x="118" y="212"/>
                  </a:cxn>
                  <a:cxn ang="0">
                    <a:pos x="354" y="212"/>
                  </a:cxn>
                  <a:cxn ang="0">
                    <a:pos x="354" y="0"/>
                  </a:cxn>
                  <a:cxn ang="0">
                    <a:pos x="472" y="0"/>
                  </a:cxn>
                  <a:cxn ang="0">
                    <a:pos x="472" y="534"/>
                  </a:cxn>
                  <a:cxn ang="0">
                    <a:pos x="354" y="534"/>
                  </a:cxn>
                </a:cxnLst>
                <a:rect l="0" t="0" r="r" b="b"/>
                <a:pathLst>
                  <a:path w="472" h="534">
                    <a:moveTo>
                      <a:pt x="354" y="534"/>
                    </a:moveTo>
                    <a:lnTo>
                      <a:pt x="354" y="320"/>
                    </a:lnTo>
                    <a:lnTo>
                      <a:pt x="118" y="320"/>
                    </a:lnTo>
                    <a:lnTo>
                      <a:pt x="118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212"/>
                    </a:lnTo>
                    <a:lnTo>
                      <a:pt x="354" y="212"/>
                    </a:lnTo>
                    <a:lnTo>
                      <a:pt x="354" y="0"/>
                    </a:lnTo>
                    <a:lnTo>
                      <a:pt x="472" y="0"/>
                    </a:lnTo>
                    <a:lnTo>
                      <a:pt x="472" y="534"/>
                    </a:lnTo>
                    <a:lnTo>
                      <a:pt x="354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  <p:sp>
            <p:nvSpPr>
              <p:cNvPr id="14" name="Freeform 7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  <p:sp>
            <p:nvSpPr>
              <p:cNvPr id="15" name="Freeform 8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  <p:sp>
            <p:nvSpPr>
              <p:cNvPr id="16" name="Freeform 9"/>
              <p:cNvSpPr>
                <a:spLocks/>
              </p:cNvSpPr>
              <p:nvPr userDrawn="1"/>
            </p:nvSpPr>
            <p:spPr bwMode="gray">
              <a:xfrm>
                <a:off x="2627313" y="2139950"/>
                <a:ext cx="847725" cy="850900"/>
              </a:xfrm>
              <a:custGeom>
                <a:avLst/>
                <a:gdLst/>
                <a:ahLst/>
                <a:cxnLst>
                  <a:cxn ang="0">
                    <a:pos x="418" y="536"/>
                  </a:cxn>
                  <a:cxn ang="0">
                    <a:pos x="418" y="186"/>
                  </a:cxn>
                  <a:cxn ang="0">
                    <a:pos x="268" y="414"/>
                  </a:cxn>
                  <a:cxn ang="0">
                    <a:pos x="264" y="414"/>
                  </a:cxn>
                  <a:cxn ang="0">
                    <a:pos x="116" y="188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68" y="226"/>
                  </a:cxn>
                  <a:cxn ang="0">
                    <a:pos x="408" y="0"/>
                  </a:cxn>
                  <a:cxn ang="0">
                    <a:pos x="534" y="0"/>
                  </a:cxn>
                  <a:cxn ang="0">
                    <a:pos x="534" y="536"/>
                  </a:cxn>
                  <a:cxn ang="0">
                    <a:pos x="418" y="536"/>
                  </a:cxn>
                </a:cxnLst>
                <a:rect l="0" t="0" r="r" b="b"/>
                <a:pathLst>
                  <a:path w="534" h="536">
                    <a:moveTo>
                      <a:pt x="418" y="536"/>
                    </a:moveTo>
                    <a:lnTo>
                      <a:pt x="418" y="186"/>
                    </a:lnTo>
                    <a:lnTo>
                      <a:pt x="268" y="414"/>
                    </a:lnTo>
                    <a:lnTo>
                      <a:pt x="264" y="414"/>
                    </a:lnTo>
                    <a:lnTo>
                      <a:pt x="116" y="188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68" y="226"/>
                    </a:lnTo>
                    <a:lnTo>
                      <a:pt x="408" y="0"/>
                    </a:lnTo>
                    <a:lnTo>
                      <a:pt x="534" y="0"/>
                    </a:lnTo>
                    <a:lnTo>
                      <a:pt x="534" y="536"/>
                    </a:lnTo>
                    <a:lnTo>
                      <a:pt x="418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  <p:sp>
            <p:nvSpPr>
              <p:cNvPr id="17" name="Freeform 10"/>
              <p:cNvSpPr>
                <a:spLocks/>
              </p:cNvSpPr>
              <p:nvPr userDrawn="1"/>
            </p:nvSpPr>
            <p:spPr bwMode="gray">
              <a:xfrm>
                <a:off x="4535488" y="2139950"/>
                <a:ext cx="781050" cy="850900"/>
              </a:xfrm>
              <a:custGeom>
                <a:avLst/>
                <a:gdLst/>
                <a:ahLst/>
                <a:cxnLst>
                  <a:cxn ang="0">
                    <a:pos x="392" y="536"/>
                  </a:cxn>
                  <a:cxn ang="0">
                    <a:pos x="118" y="194"/>
                  </a:cxn>
                  <a:cxn ang="0">
                    <a:pos x="118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6" y="330"/>
                  </a:cxn>
                  <a:cxn ang="0">
                    <a:pos x="376" y="0"/>
                  </a:cxn>
                  <a:cxn ang="0">
                    <a:pos x="492" y="0"/>
                  </a:cxn>
                  <a:cxn ang="0">
                    <a:pos x="492" y="536"/>
                  </a:cxn>
                  <a:cxn ang="0">
                    <a:pos x="392" y="536"/>
                  </a:cxn>
                </a:cxnLst>
                <a:rect l="0" t="0" r="r" b="b"/>
                <a:pathLst>
                  <a:path w="492" h="536">
                    <a:moveTo>
                      <a:pt x="392" y="536"/>
                    </a:moveTo>
                    <a:lnTo>
                      <a:pt x="118" y="194"/>
                    </a:lnTo>
                    <a:lnTo>
                      <a:pt x="118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6" y="330"/>
                    </a:lnTo>
                    <a:lnTo>
                      <a:pt x="376" y="0"/>
                    </a:lnTo>
                    <a:lnTo>
                      <a:pt x="492" y="0"/>
                    </a:lnTo>
                    <a:lnTo>
                      <a:pt x="492" y="536"/>
                    </a:lnTo>
                    <a:lnTo>
                      <a:pt x="392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  <p:sp>
            <p:nvSpPr>
              <p:cNvPr id="18" name="Freeform 11"/>
              <p:cNvSpPr>
                <a:spLocks/>
              </p:cNvSpPr>
              <p:nvPr userDrawn="1"/>
            </p:nvSpPr>
            <p:spPr bwMode="gray">
              <a:xfrm>
                <a:off x="5475288" y="2139950"/>
                <a:ext cx="777875" cy="850900"/>
              </a:xfrm>
              <a:custGeom>
                <a:avLst/>
                <a:gdLst/>
                <a:ahLst/>
                <a:cxnLst>
                  <a:cxn ang="0">
                    <a:pos x="390" y="536"/>
                  </a:cxn>
                  <a:cxn ang="0">
                    <a:pos x="116" y="194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4" y="330"/>
                  </a:cxn>
                  <a:cxn ang="0">
                    <a:pos x="374" y="0"/>
                  </a:cxn>
                  <a:cxn ang="0">
                    <a:pos x="490" y="0"/>
                  </a:cxn>
                  <a:cxn ang="0">
                    <a:pos x="490" y="536"/>
                  </a:cxn>
                  <a:cxn ang="0">
                    <a:pos x="390" y="536"/>
                  </a:cxn>
                </a:cxnLst>
                <a:rect l="0" t="0" r="r" b="b"/>
                <a:pathLst>
                  <a:path w="490" h="536">
                    <a:moveTo>
                      <a:pt x="390" y="536"/>
                    </a:moveTo>
                    <a:lnTo>
                      <a:pt x="116" y="194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4" y="330"/>
                    </a:lnTo>
                    <a:lnTo>
                      <a:pt x="374" y="0"/>
                    </a:lnTo>
                    <a:lnTo>
                      <a:pt x="490" y="0"/>
                    </a:lnTo>
                    <a:lnTo>
                      <a:pt x="490" y="536"/>
                    </a:lnTo>
                    <a:lnTo>
                      <a:pt x="390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  <p:sp>
            <p:nvSpPr>
              <p:cNvPr id="19" name="Freeform 12"/>
              <p:cNvSpPr>
                <a:spLocks/>
              </p:cNvSpPr>
              <p:nvPr userDrawn="1"/>
            </p:nvSpPr>
            <p:spPr bwMode="gray">
              <a:xfrm>
                <a:off x="4446588" y="3159125"/>
                <a:ext cx="822325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58" y="414"/>
                  </a:cxn>
                  <a:cxn ang="0">
                    <a:pos x="256" y="414"/>
                  </a:cxn>
                  <a:cxn ang="0">
                    <a:pos x="114" y="188"/>
                  </a:cxn>
                  <a:cxn ang="0">
                    <a:pos x="114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58" y="226"/>
                  </a:cxn>
                  <a:cxn ang="0">
                    <a:pos x="392" y="0"/>
                  </a:cxn>
                  <a:cxn ang="0">
                    <a:pos x="518" y="0"/>
                  </a:cxn>
                  <a:cxn ang="0">
                    <a:pos x="518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18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58" y="414"/>
                    </a:lnTo>
                    <a:lnTo>
                      <a:pt x="256" y="414"/>
                    </a:lnTo>
                    <a:lnTo>
                      <a:pt x="114" y="188"/>
                    </a:lnTo>
                    <a:lnTo>
                      <a:pt x="114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58" y="226"/>
                    </a:lnTo>
                    <a:lnTo>
                      <a:pt x="392" y="0"/>
                    </a:lnTo>
                    <a:lnTo>
                      <a:pt x="518" y="0"/>
                    </a:lnTo>
                    <a:lnTo>
                      <a:pt x="518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  <p:sp>
            <p:nvSpPr>
              <p:cNvPr id="20" name="Freeform 13"/>
              <p:cNvSpPr>
                <a:spLocks/>
              </p:cNvSpPr>
              <p:nvPr userDrawn="1"/>
            </p:nvSpPr>
            <p:spPr bwMode="gray">
              <a:xfrm>
                <a:off x="5430838" y="3159125"/>
                <a:ext cx="825500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60" y="414"/>
                  </a:cxn>
                  <a:cxn ang="0">
                    <a:pos x="258" y="414"/>
                  </a:cxn>
                  <a:cxn ang="0">
                    <a:pos x="116" y="188"/>
                  </a:cxn>
                  <a:cxn ang="0">
                    <a:pos x="116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8" y="0"/>
                  </a:cxn>
                  <a:cxn ang="0">
                    <a:pos x="260" y="226"/>
                  </a:cxn>
                  <a:cxn ang="0">
                    <a:pos x="392" y="0"/>
                  </a:cxn>
                  <a:cxn ang="0">
                    <a:pos x="520" y="0"/>
                  </a:cxn>
                  <a:cxn ang="0">
                    <a:pos x="520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20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60" y="414"/>
                    </a:lnTo>
                    <a:lnTo>
                      <a:pt x="258" y="414"/>
                    </a:lnTo>
                    <a:lnTo>
                      <a:pt x="116" y="188"/>
                    </a:lnTo>
                    <a:lnTo>
                      <a:pt x="116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8" y="0"/>
                    </a:lnTo>
                    <a:lnTo>
                      <a:pt x="260" y="226"/>
                    </a:lnTo>
                    <a:lnTo>
                      <a:pt x="392" y="0"/>
                    </a:lnTo>
                    <a:lnTo>
                      <a:pt x="520" y="0"/>
                    </a:lnTo>
                    <a:lnTo>
                      <a:pt x="520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  <p:sp>
            <p:nvSpPr>
              <p:cNvPr id="21" name="Freeform 14"/>
              <p:cNvSpPr>
                <a:spLocks/>
              </p:cNvSpPr>
              <p:nvPr userDrawn="1"/>
            </p:nvSpPr>
            <p:spPr bwMode="gray">
              <a:xfrm>
                <a:off x="6415088" y="3159125"/>
                <a:ext cx="650875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410" y="0"/>
                  </a:cxn>
                  <a:cxn ang="0">
                    <a:pos x="410" y="104"/>
                  </a:cxn>
                  <a:cxn ang="0">
                    <a:pos x="118" y="104"/>
                  </a:cxn>
                  <a:cxn ang="0">
                    <a:pos x="118" y="212"/>
                  </a:cxn>
                  <a:cxn ang="0">
                    <a:pos x="378" y="212"/>
                  </a:cxn>
                  <a:cxn ang="0">
                    <a:pos x="378" y="318"/>
                  </a:cxn>
                  <a:cxn ang="0">
                    <a:pos x="118" y="318"/>
                  </a:cxn>
                  <a:cxn ang="0">
                    <a:pos x="118" y="430"/>
                  </a:cxn>
                  <a:cxn ang="0">
                    <a:pos x="410" y="430"/>
                  </a:cxn>
                  <a:cxn ang="0">
                    <a:pos x="410" y="534"/>
                  </a:cxn>
                  <a:cxn ang="0">
                    <a:pos x="0" y="534"/>
                  </a:cxn>
                </a:cxnLst>
                <a:rect l="0" t="0" r="r" b="b"/>
                <a:pathLst>
                  <a:path w="410" h="534">
                    <a:moveTo>
                      <a:pt x="0" y="534"/>
                    </a:moveTo>
                    <a:lnTo>
                      <a:pt x="0" y="0"/>
                    </a:lnTo>
                    <a:lnTo>
                      <a:pt x="410" y="0"/>
                    </a:lnTo>
                    <a:lnTo>
                      <a:pt x="410" y="104"/>
                    </a:lnTo>
                    <a:lnTo>
                      <a:pt x="118" y="104"/>
                    </a:lnTo>
                    <a:lnTo>
                      <a:pt x="118" y="212"/>
                    </a:lnTo>
                    <a:lnTo>
                      <a:pt x="378" y="212"/>
                    </a:lnTo>
                    <a:lnTo>
                      <a:pt x="378" y="318"/>
                    </a:lnTo>
                    <a:lnTo>
                      <a:pt x="118" y="318"/>
                    </a:lnTo>
                    <a:lnTo>
                      <a:pt x="118" y="430"/>
                    </a:lnTo>
                    <a:lnTo>
                      <a:pt x="410" y="430"/>
                    </a:lnTo>
                    <a:lnTo>
                      <a:pt x="410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  <p:sp>
            <p:nvSpPr>
              <p:cNvPr id="22" name="Freeform 15"/>
              <p:cNvSpPr>
                <a:spLocks/>
              </p:cNvSpPr>
              <p:nvPr userDrawn="1"/>
            </p:nvSpPr>
            <p:spPr bwMode="gray">
              <a:xfrm>
                <a:off x="7227888" y="3159125"/>
                <a:ext cx="609600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116" y="0"/>
                  </a:cxn>
                  <a:cxn ang="0">
                    <a:pos x="116" y="428"/>
                  </a:cxn>
                  <a:cxn ang="0">
                    <a:pos x="384" y="428"/>
                  </a:cxn>
                  <a:cxn ang="0">
                    <a:pos x="384" y="534"/>
                  </a:cxn>
                  <a:cxn ang="0">
                    <a:pos x="0" y="534"/>
                  </a:cxn>
                </a:cxnLst>
                <a:rect l="0" t="0" r="r" b="b"/>
                <a:pathLst>
                  <a:path w="384" h="534">
                    <a:moveTo>
                      <a:pt x="0" y="534"/>
                    </a:moveTo>
                    <a:lnTo>
                      <a:pt x="0" y="0"/>
                    </a:lnTo>
                    <a:lnTo>
                      <a:pt x="116" y="0"/>
                    </a:lnTo>
                    <a:lnTo>
                      <a:pt x="116" y="428"/>
                    </a:lnTo>
                    <a:lnTo>
                      <a:pt x="384" y="428"/>
                    </a:lnTo>
                    <a:lnTo>
                      <a:pt x="384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  <p:sp>
            <p:nvSpPr>
              <p:cNvPr id="23" name="Freeform 16"/>
              <p:cNvSpPr>
                <a:spLocks noEditPoints="1"/>
              </p:cNvSpPr>
              <p:nvPr userDrawn="1"/>
            </p:nvSpPr>
            <p:spPr bwMode="gray">
              <a:xfrm>
                <a:off x="3548063" y="2133600"/>
                <a:ext cx="911225" cy="857250"/>
              </a:xfrm>
              <a:custGeom>
                <a:avLst/>
                <a:gdLst/>
                <a:ahLst/>
                <a:cxnLst>
                  <a:cxn ang="0">
                    <a:pos x="212" y="316"/>
                  </a:cxn>
                  <a:cxn ang="0">
                    <a:pos x="286" y="142"/>
                  </a:cxn>
                  <a:cxn ang="0">
                    <a:pos x="360" y="316"/>
                  </a:cxn>
                  <a:cxn ang="0">
                    <a:pos x="212" y="316"/>
                  </a:cxn>
                  <a:cxn ang="0">
                    <a:pos x="342" y="0"/>
                  </a:cxn>
                  <a:cxn ang="0">
                    <a:pos x="232" y="0"/>
                  </a:cxn>
                  <a:cxn ang="0">
                    <a:pos x="0" y="540"/>
                  </a:cxn>
                  <a:cxn ang="0">
                    <a:pos x="120" y="540"/>
                  </a:cxn>
                  <a:cxn ang="0">
                    <a:pos x="170" y="420"/>
                  </a:cxn>
                  <a:cxn ang="0">
                    <a:pos x="402" y="420"/>
                  </a:cxn>
                  <a:cxn ang="0">
                    <a:pos x="452" y="540"/>
                  </a:cxn>
                  <a:cxn ang="0">
                    <a:pos x="574" y="540"/>
                  </a:cxn>
                  <a:cxn ang="0">
                    <a:pos x="342" y="0"/>
                  </a:cxn>
                </a:cxnLst>
                <a:rect l="0" t="0" r="r" b="b"/>
                <a:pathLst>
                  <a:path w="574" h="540">
                    <a:moveTo>
                      <a:pt x="212" y="316"/>
                    </a:moveTo>
                    <a:lnTo>
                      <a:pt x="286" y="142"/>
                    </a:lnTo>
                    <a:lnTo>
                      <a:pt x="360" y="316"/>
                    </a:lnTo>
                    <a:lnTo>
                      <a:pt x="212" y="316"/>
                    </a:lnTo>
                    <a:close/>
                    <a:moveTo>
                      <a:pt x="342" y="0"/>
                    </a:moveTo>
                    <a:lnTo>
                      <a:pt x="232" y="0"/>
                    </a:lnTo>
                    <a:lnTo>
                      <a:pt x="0" y="540"/>
                    </a:lnTo>
                    <a:lnTo>
                      <a:pt x="120" y="540"/>
                    </a:lnTo>
                    <a:lnTo>
                      <a:pt x="170" y="420"/>
                    </a:lnTo>
                    <a:lnTo>
                      <a:pt x="402" y="420"/>
                    </a:lnTo>
                    <a:lnTo>
                      <a:pt x="452" y="540"/>
                    </a:lnTo>
                    <a:lnTo>
                      <a:pt x="574" y="540"/>
                    </a:lnTo>
                    <a:lnTo>
                      <a:pt x="3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  <p:sp>
            <p:nvSpPr>
              <p:cNvPr id="24" name="Freeform 17"/>
              <p:cNvSpPr>
                <a:spLocks/>
              </p:cNvSpPr>
              <p:nvPr userDrawn="1"/>
            </p:nvSpPr>
            <p:spPr bwMode="gray">
              <a:xfrm>
                <a:off x="6538913" y="2139950"/>
                <a:ext cx="873125" cy="850900"/>
              </a:xfrm>
              <a:custGeom>
                <a:avLst/>
                <a:gdLst/>
                <a:ahLst/>
                <a:cxnLst>
                  <a:cxn ang="0">
                    <a:pos x="550" y="212"/>
                  </a:cxn>
                  <a:cxn ang="0">
                    <a:pos x="332" y="212"/>
                  </a:cxn>
                  <a:cxn ang="0">
                    <a:pos x="332" y="0"/>
                  </a:cxn>
                  <a:cxn ang="0">
                    <a:pos x="220" y="0"/>
                  </a:cxn>
                  <a:cxn ang="0">
                    <a:pos x="220" y="212"/>
                  </a:cxn>
                  <a:cxn ang="0">
                    <a:pos x="0" y="212"/>
                  </a:cxn>
                  <a:cxn ang="0">
                    <a:pos x="0" y="322"/>
                  </a:cxn>
                  <a:cxn ang="0">
                    <a:pos x="220" y="322"/>
                  </a:cxn>
                  <a:cxn ang="0">
                    <a:pos x="220" y="536"/>
                  </a:cxn>
                  <a:cxn ang="0">
                    <a:pos x="332" y="536"/>
                  </a:cxn>
                  <a:cxn ang="0">
                    <a:pos x="332" y="322"/>
                  </a:cxn>
                  <a:cxn ang="0">
                    <a:pos x="550" y="322"/>
                  </a:cxn>
                  <a:cxn ang="0">
                    <a:pos x="550" y="212"/>
                  </a:cxn>
                </a:cxnLst>
                <a:rect l="0" t="0" r="r" b="b"/>
                <a:pathLst>
                  <a:path w="550" h="536">
                    <a:moveTo>
                      <a:pt x="550" y="212"/>
                    </a:moveTo>
                    <a:lnTo>
                      <a:pt x="332" y="212"/>
                    </a:lnTo>
                    <a:lnTo>
                      <a:pt x="332" y="0"/>
                    </a:lnTo>
                    <a:lnTo>
                      <a:pt x="220" y="0"/>
                    </a:lnTo>
                    <a:lnTo>
                      <a:pt x="220" y="212"/>
                    </a:lnTo>
                    <a:lnTo>
                      <a:pt x="0" y="212"/>
                    </a:lnTo>
                    <a:lnTo>
                      <a:pt x="0" y="322"/>
                    </a:lnTo>
                    <a:lnTo>
                      <a:pt x="220" y="322"/>
                    </a:lnTo>
                    <a:lnTo>
                      <a:pt x="220" y="536"/>
                    </a:lnTo>
                    <a:lnTo>
                      <a:pt x="332" y="536"/>
                    </a:lnTo>
                    <a:lnTo>
                      <a:pt x="332" y="322"/>
                    </a:lnTo>
                    <a:lnTo>
                      <a:pt x="550" y="322"/>
                    </a:lnTo>
                    <a:lnTo>
                      <a:pt x="550" y="2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</p:grpSp>
      </p:grp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 rot="21180000">
            <a:off x="2333004" y="2964854"/>
            <a:ext cx="3709015" cy="251546"/>
          </a:xfrm>
        </p:spPr>
        <p:txBody>
          <a:bodyPr anchor="b">
            <a:normAutofit/>
          </a:bodyPr>
          <a:lstStyle>
            <a:lvl1pPr marL="0">
              <a:spcAft>
                <a:spcPts val="0"/>
              </a:spcAft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9pPr>
          </a:lstStyle>
          <a:p>
            <a:pPr lvl="0"/>
            <a:r>
              <a:rPr lang="en-US" noProof="0" dirty="0"/>
              <a:t>Position</a:t>
            </a:r>
          </a:p>
        </p:txBody>
      </p:sp>
      <p:sp>
        <p:nvSpPr>
          <p:cNvPr id="27" name="Titel 5"/>
          <p:cNvSpPr>
            <a:spLocks noGrp="1"/>
          </p:cNvSpPr>
          <p:nvPr>
            <p:ph type="title" hasCustomPrompt="1"/>
          </p:nvPr>
        </p:nvSpPr>
        <p:spPr bwMode="gray">
          <a:xfrm rot="21180000">
            <a:off x="2293557" y="2565325"/>
            <a:ext cx="3710216" cy="400459"/>
          </a:xfrm>
          <a:solidFill>
            <a:schemeClr val="bg1"/>
          </a:solidFill>
        </p:spPr>
        <p:txBody>
          <a:bodyPr vert="horz" lIns="0" tIns="0" rIns="0" bIns="0" anchor="b">
            <a:noAutofit/>
          </a:bodyPr>
          <a:lstStyle>
            <a:lvl1pPr marL="0" marR="0" indent="0" algn="l" defTabSz="4570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/>
            </a:lvl1pPr>
          </a:lstStyle>
          <a:p>
            <a:r>
              <a:rPr lang="en-US" noProof="0" dirty="0"/>
              <a:t>Name Surname</a:t>
            </a:r>
          </a:p>
        </p:txBody>
      </p:sp>
      <p:sp>
        <p:nvSpPr>
          <p:cNvPr id="45" name="Textplatzhalter 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248225" y="2636912"/>
            <a:ext cx="3599513" cy="43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2799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&lt;Thank you!&gt;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 rot="21179971">
            <a:off x="2415265" y="3467630"/>
            <a:ext cx="1531791" cy="767067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 dirty="0"/>
              <a:t>MANN+HUMMEL</a:t>
            </a:r>
            <a:br>
              <a:rPr lang="en-US" noProof="0" dirty="0"/>
            </a:br>
            <a:r>
              <a:rPr lang="en-US" noProof="0" dirty="0"/>
              <a:t>Address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20" hasCustomPrompt="1"/>
          </p:nvPr>
        </p:nvSpPr>
        <p:spPr bwMode="gray">
          <a:xfrm rot="21179971">
            <a:off x="3975157" y="3240113"/>
            <a:ext cx="2142240" cy="767067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tabLst>
                <a:tab pos="449128" algn="l"/>
              </a:tabLst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 dirty="0"/>
              <a:t>Phone   +xx </a:t>
            </a:r>
            <a:r>
              <a:rPr lang="en-US" noProof="0" dirty="0" err="1"/>
              <a:t>xxxx</a:t>
            </a:r>
            <a:r>
              <a:rPr lang="en-US" noProof="0" dirty="0"/>
              <a:t> xx-xx</a:t>
            </a:r>
            <a:br>
              <a:rPr lang="en-US" noProof="0" dirty="0"/>
            </a:br>
            <a:r>
              <a:rPr lang="en-US" noProof="0" dirty="0"/>
              <a:t>Fax        +xx </a:t>
            </a:r>
            <a:r>
              <a:rPr lang="en-US" noProof="0" dirty="0" err="1"/>
              <a:t>xxxx</a:t>
            </a:r>
            <a:r>
              <a:rPr lang="en-US" noProof="0" dirty="0"/>
              <a:t> xx-xx</a:t>
            </a:r>
            <a:br>
              <a:rPr lang="en-US" noProof="0" dirty="0"/>
            </a:br>
            <a:r>
              <a:rPr lang="en-US" noProof="0" dirty="0"/>
              <a:t>Mobile    +xx </a:t>
            </a:r>
            <a:r>
              <a:rPr lang="en-US" noProof="0" dirty="0" err="1"/>
              <a:t>xxxx</a:t>
            </a:r>
            <a:r>
              <a:rPr lang="en-US" noProof="0" dirty="0"/>
              <a:t> xx-xxx</a:t>
            </a:r>
            <a:br>
              <a:rPr lang="en-US" noProof="0" dirty="0"/>
            </a:br>
            <a:r>
              <a:rPr lang="en-US" noProof="0" dirty="0"/>
              <a:t>max.mustermann@mann-hummel.com</a:t>
            </a:r>
            <a:br>
              <a:rPr lang="en-US" noProof="0" dirty="0"/>
            </a:br>
            <a:r>
              <a:rPr lang="en-US" noProof="0" dirty="0"/>
              <a:t>www.mann-hummel.com</a:t>
            </a:r>
          </a:p>
        </p:txBody>
      </p:sp>
      <p:pic>
        <p:nvPicPr>
          <p:cNvPr id="31" name="Picture 8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24" y="6510889"/>
            <a:ext cx="1529602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3519905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13"/>
          <p:cNvSpPr/>
          <p:nvPr userDrawn="1"/>
        </p:nvSpPr>
        <p:spPr bwMode="gray">
          <a:xfrm>
            <a:off x="193624" y="6237312"/>
            <a:ext cx="10077752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dirty="0" err="1">
              <a:solidFill>
                <a:prstClr val="white"/>
              </a:solidFill>
            </a:endParaRPr>
          </a:p>
        </p:txBody>
      </p:sp>
      <p:pic>
        <p:nvPicPr>
          <p:cNvPr id="3199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7995" y="188914"/>
            <a:ext cx="11804751" cy="5761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el 1"/>
          <p:cNvSpPr>
            <a:spLocks noGrp="1" noChangeAspect="1"/>
          </p:cNvSpPr>
          <p:nvPr>
            <p:ph type="ctrTitle" hasCustomPrompt="1"/>
          </p:nvPr>
        </p:nvSpPr>
        <p:spPr bwMode="gray">
          <a:xfrm>
            <a:off x="4224279" y="1196752"/>
            <a:ext cx="3743441" cy="3744416"/>
          </a:xfrm>
          <a:blipFill>
            <a:blip r:embed="rId3"/>
            <a:stretch>
              <a:fillRect/>
            </a:stretch>
          </a:blipFill>
        </p:spPr>
        <p:txBody>
          <a:bodyPr lIns="180000" tIns="144000" rIns="180000" bIns="144000">
            <a:noAutofit/>
          </a:bodyPr>
          <a:lstStyle>
            <a:lvl1pPr>
              <a:defRPr sz="2799" baseline="0"/>
            </a:lvl1pPr>
          </a:lstStyle>
          <a:p>
            <a:r>
              <a:rPr lang="en-US" dirty="0"/>
              <a:t>Title of presentation (M+H green &amp;     M+H light-green) </a:t>
            </a:r>
          </a:p>
        </p:txBody>
      </p:sp>
      <p:pic>
        <p:nvPicPr>
          <p:cNvPr id="3157" name="Picture 85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24" y="6510889"/>
            <a:ext cx="1529602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Textplatzhalter 2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24279" y="4581128"/>
            <a:ext cx="3743441" cy="360040"/>
          </a:xfrm>
        </p:spPr>
        <p:txBody>
          <a:bodyPr lIns="180000" rIns="180000" anchor="t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00"/>
            </a:lvl1pPr>
            <a:lvl2pPr marL="0" indent="0">
              <a:spcAft>
                <a:spcPts val="0"/>
              </a:spcAft>
              <a:buNone/>
              <a:defRPr sz="1400"/>
            </a:lvl2pPr>
            <a:lvl3pPr marL="0" indent="0">
              <a:spcAft>
                <a:spcPts val="0"/>
              </a:spcAft>
              <a:buNone/>
              <a:defRPr sz="1400"/>
            </a:lvl3pPr>
            <a:lvl4pPr marL="0" indent="0">
              <a:spcAft>
                <a:spcPts val="0"/>
              </a:spcAft>
              <a:buNone/>
              <a:defRPr sz="1400"/>
            </a:lvl4pPr>
            <a:lvl5pPr marL="0" indent="0">
              <a:spcAft>
                <a:spcPts val="0"/>
              </a:spcAft>
              <a:buNone/>
              <a:defRPr sz="1400"/>
            </a:lvl5pPr>
            <a:lvl6pPr marL="0" indent="0">
              <a:spcAft>
                <a:spcPts val="0"/>
              </a:spcAft>
              <a:buNone/>
              <a:defRPr sz="1400"/>
            </a:lvl6pPr>
            <a:lvl7pPr marL="0" indent="0">
              <a:spcAft>
                <a:spcPts val="0"/>
              </a:spcAft>
              <a:buNone/>
              <a:defRPr sz="1400"/>
            </a:lvl7pPr>
            <a:lvl8pPr marL="0" indent="0">
              <a:spcAft>
                <a:spcPts val="0"/>
              </a:spcAft>
              <a:buNone/>
              <a:defRPr sz="1400"/>
            </a:lvl8pPr>
            <a:lvl9pPr marL="0" indent="0">
              <a:spcAft>
                <a:spcPts val="0"/>
              </a:spcAft>
              <a:buNone/>
              <a:defRPr sz="1400"/>
            </a:lvl9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24279" y="4077072"/>
            <a:ext cx="3743441" cy="504056"/>
          </a:xfrm>
        </p:spPr>
        <p:txBody>
          <a:bodyPr lIns="180000" rIns="180000" anchor="b">
            <a:noAutofit/>
          </a:bodyPr>
          <a:lstStyle>
            <a:lvl1pPr marL="0" indent="0" algn="l">
              <a:spcBef>
                <a:spcPts val="200"/>
              </a:spcBef>
              <a:spcAft>
                <a:spcPts val="0"/>
              </a:spcAft>
              <a:buNone/>
              <a:defRPr sz="1400" baseline="0">
                <a:solidFill>
                  <a:schemeClr val="tx1"/>
                </a:solidFill>
              </a:defRPr>
            </a:lvl1pPr>
            <a:lvl2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2pPr>
            <a:lvl3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3pPr>
            <a:lvl4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5pPr>
            <a:lvl6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6pPr>
            <a:lvl7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7pPr>
            <a:lvl8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8pPr>
            <a:lvl9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Author</a:t>
            </a:r>
            <a:br>
              <a:rPr lang="en-US" dirty="0"/>
            </a:br>
            <a:r>
              <a:rPr lang="en-US" dirty="0"/>
              <a:t>Place</a:t>
            </a:r>
          </a:p>
        </p:txBody>
      </p:sp>
    </p:spTree>
    <p:extLst>
      <p:ext uri="{BB962C8B-B14F-4D97-AF65-F5344CB8AC3E}">
        <p14:creationId xmlns:p14="http://schemas.microsoft.com/office/powerpoint/2010/main" val="261863461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7995" y="188914"/>
            <a:ext cx="11804751" cy="5761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7"/>
          <p:cNvSpPr>
            <a:spLocks noChangeAspect="1"/>
          </p:cNvSpPr>
          <p:nvPr/>
        </p:nvSpPr>
        <p:spPr bwMode="gray">
          <a:xfrm flipH="1">
            <a:off x="88647" y="800720"/>
            <a:ext cx="104249" cy="108000"/>
          </a:xfrm>
          <a:custGeom>
            <a:avLst/>
            <a:gdLst/>
            <a:ahLst/>
            <a:cxnLst>
              <a:cxn ang="0">
                <a:pos x="56" y="58"/>
              </a:cxn>
              <a:cxn ang="0">
                <a:pos x="0" y="0"/>
              </a:cxn>
              <a:cxn ang="0">
                <a:pos x="0" y="58"/>
              </a:cxn>
              <a:cxn ang="0">
                <a:pos x="56" y="58"/>
              </a:cxn>
            </a:cxnLst>
            <a:rect l="0" t="0" r="r" b="b"/>
            <a:pathLst>
              <a:path w="56" h="58">
                <a:moveTo>
                  <a:pt x="56" y="58"/>
                </a:moveTo>
                <a:lnTo>
                  <a:pt x="0" y="0"/>
                </a:lnTo>
                <a:lnTo>
                  <a:pt x="0" y="58"/>
                </a:lnTo>
                <a:lnTo>
                  <a:pt x="56" y="58"/>
                </a:lnTo>
                <a:close/>
              </a:path>
            </a:pathLst>
          </a:custGeom>
          <a:solidFill>
            <a:schemeClr val="bg2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algn="r"/>
            <a:endParaRPr lang="en-US" sz="1500" dirty="0">
              <a:solidFill>
                <a:prstClr val="white"/>
              </a:solidFill>
            </a:endParaRP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8262" y="908840"/>
            <a:ext cx="1009364" cy="1032384"/>
          </a:xfrm>
          <a:solidFill>
            <a:srgbClr val="C2C2C2"/>
          </a:solidFill>
        </p:spPr>
        <p:txBody>
          <a:bodyPr wrap="none" lIns="432000" tIns="54000" rIns="144000" bIns="54000">
            <a:spAutoFit/>
          </a:bodyPr>
          <a:lstStyle>
            <a:lvl1pPr marL="0" algn="l">
              <a:spcAft>
                <a:spcPts val="0"/>
              </a:spcAft>
              <a:buFontTx/>
              <a:buNone/>
              <a:defRPr sz="5998">
                <a:solidFill>
                  <a:schemeClr val="bg1"/>
                </a:solidFill>
              </a:defRPr>
            </a:lvl1pPr>
            <a:lvl2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5pPr>
            <a:lvl6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6pPr>
            <a:lvl7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7pPr>
            <a:lvl8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8pPr>
            <a:lvl9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0</a:t>
            </a:r>
          </a:p>
        </p:txBody>
      </p:sp>
      <p:sp>
        <p:nvSpPr>
          <p:cNvPr id="17" name="Titel 16"/>
          <p:cNvSpPr>
            <a:spLocks noGrp="1"/>
          </p:cNvSpPr>
          <p:nvPr>
            <p:ph type="title" hasCustomPrompt="1"/>
          </p:nvPr>
        </p:nvSpPr>
        <p:spPr bwMode="gray">
          <a:xfrm>
            <a:off x="552827" y="3893569"/>
            <a:ext cx="10293319" cy="615553"/>
          </a:xfrm>
          <a:noFill/>
        </p:spPr>
        <p:txBody>
          <a:bodyPr anchor="b"/>
          <a:lstStyle>
            <a:lvl1pPr>
              <a:defRPr sz="39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hapter name</a:t>
            </a:r>
          </a:p>
        </p:txBody>
      </p:sp>
      <p:sp>
        <p:nvSpPr>
          <p:cNvPr id="14" name="Rechteck 13"/>
          <p:cNvSpPr/>
          <p:nvPr userDrawn="1"/>
        </p:nvSpPr>
        <p:spPr bwMode="gray">
          <a:xfrm>
            <a:off x="193624" y="6237312"/>
            <a:ext cx="10077752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dirty="0" err="1">
              <a:solidFill>
                <a:prstClr val="white"/>
              </a:solidFill>
            </a:endParaRPr>
          </a:p>
        </p:txBody>
      </p:sp>
      <p:pic>
        <p:nvPicPr>
          <p:cNvPr id="18" name="Picture 8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24" y="6510889"/>
            <a:ext cx="1529602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52827" y="4725144"/>
            <a:ext cx="10293319" cy="936104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Short Summary to the next chapter (max. 3 lines)</a:t>
            </a:r>
          </a:p>
        </p:txBody>
      </p:sp>
    </p:spTree>
    <p:extLst>
      <p:ext uri="{BB962C8B-B14F-4D97-AF65-F5344CB8AC3E}">
        <p14:creationId xmlns:p14="http://schemas.microsoft.com/office/powerpoint/2010/main" val="397283113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dirty="0">
              <a:solidFill>
                <a:prstClr val="white"/>
              </a:solidFill>
            </a:endParaRP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92881" y="188641"/>
            <a:ext cx="11806237" cy="6480719"/>
          </a:xfrm>
          <a:solidFill>
            <a:schemeClr val="bg1"/>
          </a:solidFill>
        </p:spPr>
        <p:txBody>
          <a:bodyPr lIns="0" tIns="576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/>
              <a:t>Insert a picture here</a:t>
            </a:r>
          </a:p>
        </p:txBody>
      </p:sp>
    </p:spTree>
    <p:extLst>
      <p:ext uri="{BB962C8B-B14F-4D97-AF65-F5344CB8AC3E}">
        <p14:creationId xmlns:p14="http://schemas.microsoft.com/office/powerpoint/2010/main" val="64783438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dirty="0">
              <a:solidFill>
                <a:prstClr val="white"/>
              </a:solidFill>
            </a:endParaRPr>
          </a:p>
        </p:txBody>
      </p:sp>
      <p:pic>
        <p:nvPicPr>
          <p:cNvPr id="32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7995" y="188913"/>
            <a:ext cx="11804751" cy="5761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uppierung 2"/>
          <p:cNvGrpSpPr>
            <a:grpSpLocks noChangeAspect="1"/>
          </p:cNvGrpSpPr>
          <p:nvPr userDrawn="1"/>
        </p:nvGrpSpPr>
        <p:grpSpPr bwMode="gray">
          <a:xfrm rot="21208675">
            <a:off x="2079149" y="1743277"/>
            <a:ext cx="4104875" cy="2659484"/>
            <a:chOff x="3013829" y="1420446"/>
            <a:chExt cx="3412817" cy="2210533"/>
          </a:xfrm>
        </p:grpSpPr>
        <p:sp>
          <p:nvSpPr>
            <p:cNvPr id="10" name="Rechteck 9"/>
            <p:cNvSpPr/>
            <p:nvPr/>
          </p:nvSpPr>
          <p:spPr bwMode="gray">
            <a:xfrm>
              <a:off x="3013829" y="1420446"/>
              <a:ext cx="3412817" cy="2210533"/>
            </a:xfrm>
            <a:prstGeom prst="rect">
              <a:avLst/>
            </a:prstGeom>
            <a:solidFill>
              <a:schemeClr val="bg1"/>
            </a:solidFill>
            <a:ln w="28575" cap="sq" cmpd="sng">
              <a:noFill/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99" dirty="0">
                <a:solidFill>
                  <a:prstClr val="white"/>
                </a:solidFill>
              </a:endParaRPr>
            </a:p>
          </p:txBody>
        </p:sp>
        <p:grpSp>
          <p:nvGrpSpPr>
            <p:cNvPr id="12" name="Gruppierung 17"/>
            <p:cNvGrpSpPr/>
            <p:nvPr userDrawn="1"/>
          </p:nvGrpSpPr>
          <p:grpSpPr bwMode="gray">
            <a:xfrm>
              <a:off x="5378643" y="1587443"/>
              <a:ext cx="883009" cy="319627"/>
              <a:chOff x="2627313" y="2133600"/>
              <a:chExt cx="5210175" cy="1885950"/>
            </a:xfrm>
            <a:solidFill>
              <a:schemeClr val="accent1"/>
            </a:solidFill>
          </p:grpSpPr>
          <p:sp>
            <p:nvSpPr>
              <p:cNvPr id="13" name="Freeform 6"/>
              <p:cNvSpPr>
                <a:spLocks/>
              </p:cNvSpPr>
              <p:nvPr userDrawn="1"/>
            </p:nvSpPr>
            <p:spPr bwMode="gray">
              <a:xfrm>
                <a:off x="2627313" y="3159125"/>
                <a:ext cx="749300" cy="847725"/>
              </a:xfrm>
              <a:custGeom>
                <a:avLst/>
                <a:gdLst/>
                <a:ahLst/>
                <a:cxnLst>
                  <a:cxn ang="0">
                    <a:pos x="354" y="534"/>
                  </a:cxn>
                  <a:cxn ang="0">
                    <a:pos x="354" y="320"/>
                  </a:cxn>
                  <a:cxn ang="0">
                    <a:pos x="118" y="320"/>
                  </a:cxn>
                  <a:cxn ang="0">
                    <a:pos x="118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18" y="0"/>
                  </a:cxn>
                  <a:cxn ang="0">
                    <a:pos x="118" y="212"/>
                  </a:cxn>
                  <a:cxn ang="0">
                    <a:pos x="354" y="212"/>
                  </a:cxn>
                  <a:cxn ang="0">
                    <a:pos x="354" y="0"/>
                  </a:cxn>
                  <a:cxn ang="0">
                    <a:pos x="472" y="0"/>
                  </a:cxn>
                  <a:cxn ang="0">
                    <a:pos x="472" y="534"/>
                  </a:cxn>
                  <a:cxn ang="0">
                    <a:pos x="354" y="534"/>
                  </a:cxn>
                </a:cxnLst>
                <a:rect l="0" t="0" r="r" b="b"/>
                <a:pathLst>
                  <a:path w="472" h="534">
                    <a:moveTo>
                      <a:pt x="354" y="534"/>
                    </a:moveTo>
                    <a:lnTo>
                      <a:pt x="354" y="320"/>
                    </a:lnTo>
                    <a:lnTo>
                      <a:pt x="118" y="320"/>
                    </a:lnTo>
                    <a:lnTo>
                      <a:pt x="118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212"/>
                    </a:lnTo>
                    <a:lnTo>
                      <a:pt x="354" y="212"/>
                    </a:lnTo>
                    <a:lnTo>
                      <a:pt x="354" y="0"/>
                    </a:lnTo>
                    <a:lnTo>
                      <a:pt x="472" y="0"/>
                    </a:lnTo>
                    <a:lnTo>
                      <a:pt x="472" y="534"/>
                    </a:lnTo>
                    <a:lnTo>
                      <a:pt x="354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" name="Freeform 7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5" name="Freeform 8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6" name="Freeform 9"/>
              <p:cNvSpPr>
                <a:spLocks/>
              </p:cNvSpPr>
              <p:nvPr userDrawn="1"/>
            </p:nvSpPr>
            <p:spPr bwMode="gray">
              <a:xfrm>
                <a:off x="2627313" y="2139950"/>
                <a:ext cx="847725" cy="850900"/>
              </a:xfrm>
              <a:custGeom>
                <a:avLst/>
                <a:gdLst/>
                <a:ahLst/>
                <a:cxnLst>
                  <a:cxn ang="0">
                    <a:pos x="418" y="536"/>
                  </a:cxn>
                  <a:cxn ang="0">
                    <a:pos x="418" y="186"/>
                  </a:cxn>
                  <a:cxn ang="0">
                    <a:pos x="268" y="414"/>
                  </a:cxn>
                  <a:cxn ang="0">
                    <a:pos x="264" y="414"/>
                  </a:cxn>
                  <a:cxn ang="0">
                    <a:pos x="116" y="188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68" y="226"/>
                  </a:cxn>
                  <a:cxn ang="0">
                    <a:pos x="408" y="0"/>
                  </a:cxn>
                  <a:cxn ang="0">
                    <a:pos x="534" y="0"/>
                  </a:cxn>
                  <a:cxn ang="0">
                    <a:pos x="534" y="536"/>
                  </a:cxn>
                  <a:cxn ang="0">
                    <a:pos x="418" y="536"/>
                  </a:cxn>
                </a:cxnLst>
                <a:rect l="0" t="0" r="r" b="b"/>
                <a:pathLst>
                  <a:path w="534" h="536">
                    <a:moveTo>
                      <a:pt x="418" y="536"/>
                    </a:moveTo>
                    <a:lnTo>
                      <a:pt x="418" y="186"/>
                    </a:lnTo>
                    <a:lnTo>
                      <a:pt x="268" y="414"/>
                    </a:lnTo>
                    <a:lnTo>
                      <a:pt x="264" y="414"/>
                    </a:lnTo>
                    <a:lnTo>
                      <a:pt x="116" y="188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68" y="226"/>
                    </a:lnTo>
                    <a:lnTo>
                      <a:pt x="408" y="0"/>
                    </a:lnTo>
                    <a:lnTo>
                      <a:pt x="534" y="0"/>
                    </a:lnTo>
                    <a:lnTo>
                      <a:pt x="534" y="536"/>
                    </a:lnTo>
                    <a:lnTo>
                      <a:pt x="418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7" name="Freeform 10"/>
              <p:cNvSpPr>
                <a:spLocks/>
              </p:cNvSpPr>
              <p:nvPr userDrawn="1"/>
            </p:nvSpPr>
            <p:spPr bwMode="gray">
              <a:xfrm>
                <a:off x="4535488" y="2139950"/>
                <a:ext cx="781050" cy="850900"/>
              </a:xfrm>
              <a:custGeom>
                <a:avLst/>
                <a:gdLst/>
                <a:ahLst/>
                <a:cxnLst>
                  <a:cxn ang="0">
                    <a:pos x="392" y="536"/>
                  </a:cxn>
                  <a:cxn ang="0">
                    <a:pos x="118" y="194"/>
                  </a:cxn>
                  <a:cxn ang="0">
                    <a:pos x="118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6" y="330"/>
                  </a:cxn>
                  <a:cxn ang="0">
                    <a:pos x="376" y="0"/>
                  </a:cxn>
                  <a:cxn ang="0">
                    <a:pos x="492" y="0"/>
                  </a:cxn>
                  <a:cxn ang="0">
                    <a:pos x="492" y="536"/>
                  </a:cxn>
                  <a:cxn ang="0">
                    <a:pos x="392" y="536"/>
                  </a:cxn>
                </a:cxnLst>
                <a:rect l="0" t="0" r="r" b="b"/>
                <a:pathLst>
                  <a:path w="492" h="536">
                    <a:moveTo>
                      <a:pt x="392" y="536"/>
                    </a:moveTo>
                    <a:lnTo>
                      <a:pt x="118" y="194"/>
                    </a:lnTo>
                    <a:lnTo>
                      <a:pt x="118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6" y="330"/>
                    </a:lnTo>
                    <a:lnTo>
                      <a:pt x="376" y="0"/>
                    </a:lnTo>
                    <a:lnTo>
                      <a:pt x="492" y="0"/>
                    </a:lnTo>
                    <a:lnTo>
                      <a:pt x="492" y="536"/>
                    </a:lnTo>
                    <a:lnTo>
                      <a:pt x="392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8" name="Freeform 11"/>
              <p:cNvSpPr>
                <a:spLocks/>
              </p:cNvSpPr>
              <p:nvPr userDrawn="1"/>
            </p:nvSpPr>
            <p:spPr bwMode="gray">
              <a:xfrm>
                <a:off x="5475288" y="2139950"/>
                <a:ext cx="777875" cy="850900"/>
              </a:xfrm>
              <a:custGeom>
                <a:avLst/>
                <a:gdLst/>
                <a:ahLst/>
                <a:cxnLst>
                  <a:cxn ang="0">
                    <a:pos x="390" y="536"/>
                  </a:cxn>
                  <a:cxn ang="0">
                    <a:pos x="116" y="194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4" y="330"/>
                  </a:cxn>
                  <a:cxn ang="0">
                    <a:pos x="374" y="0"/>
                  </a:cxn>
                  <a:cxn ang="0">
                    <a:pos x="490" y="0"/>
                  </a:cxn>
                  <a:cxn ang="0">
                    <a:pos x="490" y="536"/>
                  </a:cxn>
                  <a:cxn ang="0">
                    <a:pos x="390" y="536"/>
                  </a:cxn>
                </a:cxnLst>
                <a:rect l="0" t="0" r="r" b="b"/>
                <a:pathLst>
                  <a:path w="490" h="536">
                    <a:moveTo>
                      <a:pt x="390" y="536"/>
                    </a:moveTo>
                    <a:lnTo>
                      <a:pt x="116" y="194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4" y="330"/>
                    </a:lnTo>
                    <a:lnTo>
                      <a:pt x="374" y="0"/>
                    </a:lnTo>
                    <a:lnTo>
                      <a:pt x="490" y="0"/>
                    </a:lnTo>
                    <a:lnTo>
                      <a:pt x="490" y="536"/>
                    </a:lnTo>
                    <a:lnTo>
                      <a:pt x="390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9" name="Freeform 12"/>
              <p:cNvSpPr>
                <a:spLocks/>
              </p:cNvSpPr>
              <p:nvPr userDrawn="1"/>
            </p:nvSpPr>
            <p:spPr bwMode="gray">
              <a:xfrm>
                <a:off x="4446588" y="3159125"/>
                <a:ext cx="822325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58" y="414"/>
                  </a:cxn>
                  <a:cxn ang="0">
                    <a:pos x="256" y="414"/>
                  </a:cxn>
                  <a:cxn ang="0">
                    <a:pos x="114" y="188"/>
                  </a:cxn>
                  <a:cxn ang="0">
                    <a:pos x="114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58" y="226"/>
                  </a:cxn>
                  <a:cxn ang="0">
                    <a:pos x="392" y="0"/>
                  </a:cxn>
                  <a:cxn ang="0">
                    <a:pos x="518" y="0"/>
                  </a:cxn>
                  <a:cxn ang="0">
                    <a:pos x="518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18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58" y="414"/>
                    </a:lnTo>
                    <a:lnTo>
                      <a:pt x="256" y="414"/>
                    </a:lnTo>
                    <a:lnTo>
                      <a:pt x="114" y="188"/>
                    </a:lnTo>
                    <a:lnTo>
                      <a:pt x="114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58" y="226"/>
                    </a:lnTo>
                    <a:lnTo>
                      <a:pt x="392" y="0"/>
                    </a:lnTo>
                    <a:lnTo>
                      <a:pt x="518" y="0"/>
                    </a:lnTo>
                    <a:lnTo>
                      <a:pt x="518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0" name="Freeform 13"/>
              <p:cNvSpPr>
                <a:spLocks/>
              </p:cNvSpPr>
              <p:nvPr userDrawn="1"/>
            </p:nvSpPr>
            <p:spPr bwMode="gray">
              <a:xfrm>
                <a:off x="5430838" y="3159125"/>
                <a:ext cx="825500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60" y="414"/>
                  </a:cxn>
                  <a:cxn ang="0">
                    <a:pos x="258" y="414"/>
                  </a:cxn>
                  <a:cxn ang="0">
                    <a:pos x="116" y="188"/>
                  </a:cxn>
                  <a:cxn ang="0">
                    <a:pos x="116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8" y="0"/>
                  </a:cxn>
                  <a:cxn ang="0">
                    <a:pos x="260" y="226"/>
                  </a:cxn>
                  <a:cxn ang="0">
                    <a:pos x="392" y="0"/>
                  </a:cxn>
                  <a:cxn ang="0">
                    <a:pos x="520" y="0"/>
                  </a:cxn>
                  <a:cxn ang="0">
                    <a:pos x="520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20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60" y="414"/>
                    </a:lnTo>
                    <a:lnTo>
                      <a:pt x="258" y="414"/>
                    </a:lnTo>
                    <a:lnTo>
                      <a:pt x="116" y="188"/>
                    </a:lnTo>
                    <a:lnTo>
                      <a:pt x="116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8" y="0"/>
                    </a:lnTo>
                    <a:lnTo>
                      <a:pt x="260" y="226"/>
                    </a:lnTo>
                    <a:lnTo>
                      <a:pt x="392" y="0"/>
                    </a:lnTo>
                    <a:lnTo>
                      <a:pt x="520" y="0"/>
                    </a:lnTo>
                    <a:lnTo>
                      <a:pt x="520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1" name="Freeform 14"/>
              <p:cNvSpPr>
                <a:spLocks/>
              </p:cNvSpPr>
              <p:nvPr userDrawn="1"/>
            </p:nvSpPr>
            <p:spPr bwMode="gray">
              <a:xfrm>
                <a:off x="6415088" y="3159125"/>
                <a:ext cx="650875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410" y="0"/>
                  </a:cxn>
                  <a:cxn ang="0">
                    <a:pos x="410" y="104"/>
                  </a:cxn>
                  <a:cxn ang="0">
                    <a:pos x="118" y="104"/>
                  </a:cxn>
                  <a:cxn ang="0">
                    <a:pos x="118" y="212"/>
                  </a:cxn>
                  <a:cxn ang="0">
                    <a:pos x="378" y="212"/>
                  </a:cxn>
                  <a:cxn ang="0">
                    <a:pos x="378" y="318"/>
                  </a:cxn>
                  <a:cxn ang="0">
                    <a:pos x="118" y="318"/>
                  </a:cxn>
                  <a:cxn ang="0">
                    <a:pos x="118" y="430"/>
                  </a:cxn>
                  <a:cxn ang="0">
                    <a:pos x="410" y="430"/>
                  </a:cxn>
                  <a:cxn ang="0">
                    <a:pos x="410" y="534"/>
                  </a:cxn>
                  <a:cxn ang="0">
                    <a:pos x="0" y="534"/>
                  </a:cxn>
                </a:cxnLst>
                <a:rect l="0" t="0" r="r" b="b"/>
                <a:pathLst>
                  <a:path w="410" h="534">
                    <a:moveTo>
                      <a:pt x="0" y="534"/>
                    </a:moveTo>
                    <a:lnTo>
                      <a:pt x="0" y="0"/>
                    </a:lnTo>
                    <a:lnTo>
                      <a:pt x="410" y="0"/>
                    </a:lnTo>
                    <a:lnTo>
                      <a:pt x="410" y="104"/>
                    </a:lnTo>
                    <a:lnTo>
                      <a:pt x="118" y="104"/>
                    </a:lnTo>
                    <a:lnTo>
                      <a:pt x="118" y="212"/>
                    </a:lnTo>
                    <a:lnTo>
                      <a:pt x="378" y="212"/>
                    </a:lnTo>
                    <a:lnTo>
                      <a:pt x="378" y="318"/>
                    </a:lnTo>
                    <a:lnTo>
                      <a:pt x="118" y="318"/>
                    </a:lnTo>
                    <a:lnTo>
                      <a:pt x="118" y="430"/>
                    </a:lnTo>
                    <a:lnTo>
                      <a:pt x="410" y="430"/>
                    </a:lnTo>
                    <a:lnTo>
                      <a:pt x="410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2" name="Freeform 15"/>
              <p:cNvSpPr>
                <a:spLocks/>
              </p:cNvSpPr>
              <p:nvPr userDrawn="1"/>
            </p:nvSpPr>
            <p:spPr bwMode="gray">
              <a:xfrm>
                <a:off x="7227888" y="3159125"/>
                <a:ext cx="609600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116" y="0"/>
                  </a:cxn>
                  <a:cxn ang="0">
                    <a:pos x="116" y="428"/>
                  </a:cxn>
                  <a:cxn ang="0">
                    <a:pos x="384" y="428"/>
                  </a:cxn>
                  <a:cxn ang="0">
                    <a:pos x="384" y="534"/>
                  </a:cxn>
                  <a:cxn ang="0">
                    <a:pos x="0" y="534"/>
                  </a:cxn>
                </a:cxnLst>
                <a:rect l="0" t="0" r="r" b="b"/>
                <a:pathLst>
                  <a:path w="384" h="534">
                    <a:moveTo>
                      <a:pt x="0" y="534"/>
                    </a:moveTo>
                    <a:lnTo>
                      <a:pt x="0" y="0"/>
                    </a:lnTo>
                    <a:lnTo>
                      <a:pt x="116" y="0"/>
                    </a:lnTo>
                    <a:lnTo>
                      <a:pt x="116" y="428"/>
                    </a:lnTo>
                    <a:lnTo>
                      <a:pt x="384" y="428"/>
                    </a:lnTo>
                    <a:lnTo>
                      <a:pt x="384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3" name="Freeform 16"/>
              <p:cNvSpPr>
                <a:spLocks noEditPoints="1"/>
              </p:cNvSpPr>
              <p:nvPr userDrawn="1"/>
            </p:nvSpPr>
            <p:spPr bwMode="gray">
              <a:xfrm>
                <a:off x="3548063" y="2133600"/>
                <a:ext cx="911225" cy="857250"/>
              </a:xfrm>
              <a:custGeom>
                <a:avLst/>
                <a:gdLst/>
                <a:ahLst/>
                <a:cxnLst>
                  <a:cxn ang="0">
                    <a:pos x="212" y="316"/>
                  </a:cxn>
                  <a:cxn ang="0">
                    <a:pos x="286" y="142"/>
                  </a:cxn>
                  <a:cxn ang="0">
                    <a:pos x="360" y="316"/>
                  </a:cxn>
                  <a:cxn ang="0">
                    <a:pos x="212" y="316"/>
                  </a:cxn>
                  <a:cxn ang="0">
                    <a:pos x="342" y="0"/>
                  </a:cxn>
                  <a:cxn ang="0">
                    <a:pos x="232" y="0"/>
                  </a:cxn>
                  <a:cxn ang="0">
                    <a:pos x="0" y="540"/>
                  </a:cxn>
                  <a:cxn ang="0">
                    <a:pos x="120" y="540"/>
                  </a:cxn>
                  <a:cxn ang="0">
                    <a:pos x="170" y="420"/>
                  </a:cxn>
                  <a:cxn ang="0">
                    <a:pos x="402" y="420"/>
                  </a:cxn>
                  <a:cxn ang="0">
                    <a:pos x="452" y="540"/>
                  </a:cxn>
                  <a:cxn ang="0">
                    <a:pos x="574" y="540"/>
                  </a:cxn>
                  <a:cxn ang="0">
                    <a:pos x="342" y="0"/>
                  </a:cxn>
                </a:cxnLst>
                <a:rect l="0" t="0" r="r" b="b"/>
                <a:pathLst>
                  <a:path w="574" h="540">
                    <a:moveTo>
                      <a:pt x="212" y="316"/>
                    </a:moveTo>
                    <a:lnTo>
                      <a:pt x="286" y="142"/>
                    </a:lnTo>
                    <a:lnTo>
                      <a:pt x="360" y="316"/>
                    </a:lnTo>
                    <a:lnTo>
                      <a:pt x="212" y="316"/>
                    </a:lnTo>
                    <a:close/>
                    <a:moveTo>
                      <a:pt x="342" y="0"/>
                    </a:moveTo>
                    <a:lnTo>
                      <a:pt x="232" y="0"/>
                    </a:lnTo>
                    <a:lnTo>
                      <a:pt x="0" y="540"/>
                    </a:lnTo>
                    <a:lnTo>
                      <a:pt x="120" y="540"/>
                    </a:lnTo>
                    <a:lnTo>
                      <a:pt x="170" y="420"/>
                    </a:lnTo>
                    <a:lnTo>
                      <a:pt x="402" y="420"/>
                    </a:lnTo>
                    <a:lnTo>
                      <a:pt x="452" y="540"/>
                    </a:lnTo>
                    <a:lnTo>
                      <a:pt x="574" y="540"/>
                    </a:lnTo>
                    <a:lnTo>
                      <a:pt x="3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4" name="Freeform 17"/>
              <p:cNvSpPr>
                <a:spLocks/>
              </p:cNvSpPr>
              <p:nvPr userDrawn="1"/>
            </p:nvSpPr>
            <p:spPr bwMode="gray">
              <a:xfrm>
                <a:off x="6538913" y="2139950"/>
                <a:ext cx="873125" cy="850900"/>
              </a:xfrm>
              <a:custGeom>
                <a:avLst/>
                <a:gdLst/>
                <a:ahLst/>
                <a:cxnLst>
                  <a:cxn ang="0">
                    <a:pos x="550" y="212"/>
                  </a:cxn>
                  <a:cxn ang="0">
                    <a:pos x="332" y="212"/>
                  </a:cxn>
                  <a:cxn ang="0">
                    <a:pos x="332" y="0"/>
                  </a:cxn>
                  <a:cxn ang="0">
                    <a:pos x="220" y="0"/>
                  </a:cxn>
                  <a:cxn ang="0">
                    <a:pos x="220" y="212"/>
                  </a:cxn>
                  <a:cxn ang="0">
                    <a:pos x="0" y="212"/>
                  </a:cxn>
                  <a:cxn ang="0">
                    <a:pos x="0" y="322"/>
                  </a:cxn>
                  <a:cxn ang="0">
                    <a:pos x="220" y="322"/>
                  </a:cxn>
                  <a:cxn ang="0">
                    <a:pos x="220" y="536"/>
                  </a:cxn>
                  <a:cxn ang="0">
                    <a:pos x="332" y="536"/>
                  </a:cxn>
                  <a:cxn ang="0">
                    <a:pos x="332" y="322"/>
                  </a:cxn>
                  <a:cxn ang="0">
                    <a:pos x="550" y="322"/>
                  </a:cxn>
                  <a:cxn ang="0">
                    <a:pos x="550" y="212"/>
                  </a:cxn>
                </a:cxnLst>
                <a:rect l="0" t="0" r="r" b="b"/>
                <a:pathLst>
                  <a:path w="550" h="536">
                    <a:moveTo>
                      <a:pt x="550" y="212"/>
                    </a:moveTo>
                    <a:lnTo>
                      <a:pt x="332" y="212"/>
                    </a:lnTo>
                    <a:lnTo>
                      <a:pt x="332" y="0"/>
                    </a:lnTo>
                    <a:lnTo>
                      <a:pt x="220" y="0"/>
                    </a:lnTo>
                    <a:lnTo>
                      <a:pt x="220" y="212"/>
                    </a:lnTo>
                    <a:lnTo>
                      <a:pt x="0" y="212"/>
                    </a:lnTo>
                    <a:lnTo>
                      <a:pt x="0" y="322"/>
                    </a:lnTo>
                    <a:lnTo>
                      <a:pt x="220" y="322"/>
                    </a:lnTo>
                    <a:lnTo>
                      <a:pt x="220" y="536"/>
                    </a:lnTo>
                    <a:lnTo>
                      <a:pt x="332" y="536"/>
                    </a:lnTo>
                    <a:lnTo>
                      <a:pt x="332" y="322"/>
                    </a:lnTo>
                    <a:lnTo>
                      <a:pt x="550" y="322"/>
                    </a:lnTo>
                    <a:lnTo>
                      <a:pt x="550" y="2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 rot="21180000">
            <a:off x="2333004" y="2964854"/>
            <a:ext cx="3709015" cy="251546"/>
          </a:xfrm>
        </p:spPr>
        <p:txBody>
          <a:bodyPr anchor="b">
            <a:normAutofit/>
          </a:bodyPr>
          <a:lstStyle>
            <a:lvl1pPr marL="0">
              <a:spcAft>
                <a:spcPts val="0"/>
              </a:spcAft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9pPr>
          </a:lstStyle>
          <a:p>
            <a:pPr lvl="0"/>
            <a:r>
              <a:rPr lang="en-US" noProof="0" dirty="0"/>
              <a:t>Position</a:t>
            </a:r>
          </a:p>
        </p:txBody>
      </p:sp>
      <p:sp>
        <p:nvSpPr>
          <p:cNvPr id="27" name="Titel 5"/>
          <p:cNvSpPr>
            <a:spLocks noGrp="1"/>
          </p:cNvSpPr>
          <p:nvPr>
            <p:ph type="title" hasCustomPrompt="1"/>
          </p:nvPr>
        </p:nvSpPr>
        <p:spPr bwMode="gray">
          <a:xfrm rot="21180000">
            <a:off x="2293557" y="2565325"/>
            <a:ext cx="3710216" cy="400459"/>
          </a:xfrm>
          <a:solidFill>
            <a:schemeClr val="bg1"/>
          </a:solidFill>
        </p:spPr>
        <p:txBody>
          <a:bodyPr vert="horz" lIns="0" tIns="0" rIns="0" bIns="0" anchor="b">
            <a:noAutofit/>
          </a:bodyPr>
          <a:lstStyle>
            <a:lvl1pPr marL="0" marR="0" indent="0" algn="l" defTabSz="4570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/>
            </a:lvl1pPr>
          </a:lstStyle>
          <a:p>
            <a:r>
              <a:rPr lang="en-US" noProof="0" dirty="0"/>
              <a:t>Name Surname</a:t>
            </a:r>
          </a:p>
        </p:txBody>
      </p:sp>
      <p:sp>
        <p:nvSpPr>
          <p:cNvPr id="45" name="Textplatzhalter 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248225" y="2636912"/>
            <a:ext cx="3599513" cy="43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2799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&lt;Thank you!&gt;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 rot="21179971">
            <a:off x="2415265" y="3467630"/>
            <a:ext cx="1531791" cy="767067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 dirty="0"/>
              <a:t>MANN+HUMMEL</a:t>
            </a:r>
            <a:br>
              <a:rPr lang="en-US" noProof="0" dirty="0"/>
            </a:br>
            <a:r>
              <a:rPr lang="en-US" noProof="0" dirty="0"/>
              <a:t>Address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20" hasCustomPrompt="1"/>
          </p:nvPr>
        </p:nvSpPr>
        <p:spPr bwMode="gray">
          <a:xfrm rot="21179971">
            <a:off x="3975157" y="3240113"/>
            <a:ext cx="2142240" cy="767067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tabLst>
                <a:tab pos="449128" algn="l"/>
              </a:tabLst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 dirty="0"/>
              <a:t>Phone   +xx </a:t>
            </a:r>
            <a:r>
              <a:rPr lang="en-US" noProof="0" dirty="0" err="1"/>
              <a:t>xxxx</a:t>
            </a:r>
            <a:r>
              <a:rPr lang="en-US" noProof="0" dirty="0"/>
              <a:t> xx-xx</a:t>
            </a:r>
            <a:br>
              <a:rPr lang="en-US" noProof="0" dirty="0"/>
            </a:br>
            <a:r>
              <a:rPr lang="en-US" noProof="0" dirty="0"/>
              <a:t>Fax        +xx </a:t>
            </a:r>
            <a:r>
              <a:rPr lang="en-US" noProof="0" dirty="0" err="1"/>
              <a:t>xxxx</a:t>
            </a:r>
            <a:r>
              <a:rPr lang="en-US" noProof="0" dirty="0"/>
              <a:t> xx-xx</a:t>
            </a:r>
            <a:br>
              <a:rPr lang="en-US" noProof="0" dirty="0"/>
            </a:br>
            <a:r>
              <a:rPr lang="en-US" noProof="0" dirty="0"/>
              <a:t>Mobile    +xx </a:t>
            </a:r>
            <a:r>
              <a:rPr lang="en-US" noProof="0" dirty="0" err="1"/>
              <a:t>xxxx</a:t>
            </a:r>
            <a:r>
              <a:rPr lang="en-US" noProof="0" dirty="0"/>
              <a:t> xx-xxx</a:t>
            </a:r>
            <a:br>
              <a:rPr lang="en-US" noProof="0" dirty="0"/>
            </a:br>
            <a:r>
              <a:rPr lang="en-US" noProof="0" dirty="0"/>
              <a:t>max.mustermann@mann-hummel.com</a:t>
            </a:r>
            <a:br>
              <a:rPr lang="en-US" noProof="0" dirty="0"/>
            </a:br>
            <a:r>
              <a:rPr lang="en-US" noProof="0" dirty="0"/>
              <a:t>www.mann-hummel.com</a:t>
            </a:r>
          </a:p>
        </p:txBody>
      </p:sp>
      <p:pic>
        <p:nvPicPr>
          <p:cNvPr id="31" name="Picture 8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24" y="6510889"/>
            <a:ext cx="1529602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791156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dirty="0">
              <a:solidFill>
                <a:prstClr val="white"/>
              </a:solidFill>
            </a:endParaRPr>
          </a:p>
        </p:txBody>
      </p:sp>
      <p:pic>
        <p:nvPicPr>
          <p:cNvPr id="32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7995" y="188913"/>
            <a:ext cx="11804751" cy="5761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Textplatzhalter 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939419" y="980776"/>
            <a:ext cx="8908319" cy="43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2799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&lt;Thank you!&gt;</a:t>
            </a:r>
          </a:p>
        </p:txBody>
      </p:sp>
      <p:pic>
        <p:nvPicPr>
          <p:cNvPr id="51" name="Picture 8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24" y="6510889"/>
            <a:ext cx="1529602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2" name="Gruppierung 2"/>
          <p:cNvGrpSpPr>
            <a:grpSpLocks noChangeAspect="1"/>
          </p:cNvGrpSpPr>
          <p:nvPr userDrawn="1"/>
        </p:nvGrpSpPr>
        <p:grpSpPr bwMode="gray">
          <a:xfrm rot="21208675">
            <a:off x="2079148" y="2067127"/>
            <a:ext cx="4104875" cy="2659484"/>
            <a:chOff x="3013829" y="1420446"/>
            <a:chExt cx="3412817" cy="2210533"/>
          </a:xfrm>
        </p:grpSpPr>
        <p:sp>
          <p:nvSpPr>
            <p:cNvPr id="53" name="Rechteck 52"/>
            <p:cNvSpPr/>
            <p:nvPr/>
          </p:nvSpPr>
          <p:spPr bwMode="gray">
            <a:xfrm>
              <a:off x="3013829" y="1420446"/>
              <a:ext cx="3412817" cy="2210533"/>
            </a:xfrm>
            <a:prstGeom prst="rect">
              <a:avLst/>
            </a:prstGeom>
            <a:solidFill>
              <a:schemeClr val="bg1"/>
            </a:solidFill>
            <a:ln w="28575" cap="sq" cmpd="sng">
              <a:noFill/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99" dirty="0">
                <a:solidFill>
                  <a:prstClr val="white"/>
                </a:solidFill>
              </a:endParaRPr>
            </a:p>
          </p:txBody>
        </p:sp>
        <p:grpSp>
          <p:nvGrpSpPr>
            <p:cNvPr id="54" name="Gruppierung 17"/>
            <p:cNvGrpSpPr/>
            <p:nvPr userDrawn="1"/>
          </p:nvGrpSpPr>
          <p:grpSpPr bwMode="gray">
            <a:xfrm>
              <a:off x="5378643" y="1587443"/>
              <a:ext cx="883009" cy="319627"/>
              <a:chOff x="2627313" y="2133600"/>
              <a:chExt cx="5210174" cy="1885957"/>
            </a:xfrm>
            <a:solidFill>
              <a:schemeClr val="accent1"/>
            </a:solidFill>
          </p:grpSpPr>
          <p:sp>
            <p:nvSpPr>
              <p:cNvPr id="55" name="Freeform 6"/>
              <p:cNvSpPr>
                <a:spLocks/>
              </p:cNvSpPr>
              <p:nvPr userDrawn="1"/>
            </p:nvSpPr>
            <p:spPr bwMode="gray">
              <a:xfrm>
                <a:off x="2627314" y="3159129"/>
                <a:ext cx="749301" cy="847727"/>
              </a:xfrm>
              <a:custGeom>
                <a:avLst/>
                <a:gdLst/>
                <a:ahLst/>
                <a:cxnLst>
                  <a:cxn ang="0">
                    <a:pos x="354" y="534"/>
                  </a:cxn>
                  <a:cxn ang="0">
                    <a:pos x="354" y="320"/>
                  </a:cxn>
                  <a:cxn ang="0">
                    <a:pos x="118" y="320"/>
                  </a:cxn>
                  <a:cxn ang="0">
                    <a:pos x="118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18" y="0"/>
                  </a:cxn>
                  <a:cxn ang="0">
                    <a:pos x="118" y="212"/>
                  </a:cxn>
                  <a:cxn ang="0">
                    <a:pos x="354" y="212"/>
                  </a:cxn>
                  <a:cxn ang="0">
                    <a:pos x="354" y="0"/>
                  </a:cxn>
                  <a:cxn ang="0">
                    <a:pos x="472" y="0"/>
                  </a:cxn>
                  <a:cxn ang="0">
                    <a:pos x="472" y="534"/>
                  </a:cxn>
                  <a:cxn ang="0">
                    <a:pos x="354" y="534"/>
                  </a:cxn>
                </a:cxnLst>
                <a:rect l="0" t="0" r="r" b="b"/>
                <a:pathLst>
                  <a:path w="472" h="534">
                    <a:moveTo>
                      <a:pt x="354" y="534"/>
                    </a:moveTo>
                    <a:lnTo>
                      <a:pt x="354" y="320"/>
                    </a:lnTo>
                    <a:lnTo>
                      <a:pt x="118" y="320"/>
                    </a:lnTo>
                    <a:lnTo>
                      <a:pt x="118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212"/>
                    </a:lnTo>
                    <a:lnTo>
                      <a:pt x="354" y="212"/>
                    </a:lnTo>
                    <a:lnTo>
                      <a:pt x="354" y="0"/>
                    </a:lnTo>
                    <a:lnTo>
                      <a:pt x="472" y="0"/>
                    </a:lnTo>
                    <a:lnTo>
                      <a:pt x="472" y="534"/>
                    </a:lnTo>
                    <a:lnTo>
                      <a:pt x="354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Freeform 7"/>
              <p:cNvSpPr>
                <a:spLocks/>
              </p:cNvSpPr>
              <p:nvPr userDrawn="1"/>
            </p:nvSpPr>
            <p:spPr bwMode="gray">
              <a:xfrm>
                <a:off x="3544886" y="3159132"/>
                <a:ext cx="733426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7" name="Freeform 8"/>
              <p:cNvSpPr>
                <a:spLocks/>
              </p:cNvSpPr>
              <p:nvPr userDrawn="1"/>
            </p:nvSpPr>
            <p:spPr bwMode="gray">
              <a:xfrm>
                <a:off x="3544887" y="3159128"/>
                <a:ext cx="733426" cy="860424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8" name="Freeform 9"/>
              <p:cNvSpPr>
                <a:spLocks/>
              </p:cNvSpPr>
              <p:nvPr userDrawn="1"/>
            </p:nvSpPr>
            <p:spPr bwMode="gray">
              <a:xfrm>
                <a:off x="2627313" y="2139948"/>
                <a:ext cx="847723" cy="850900"/>
              </a:xfrm>
              <a:custGeom>
                <a:avLst/>
                <a:gdLst/>
                <a:ahLst/>
                <a:cxnLst>
                  <a:cxn ang="0">
                    <a:pos x="418" y="536"/>
                  </a:cxn>
                  <a:cxn ang="0">
                    <a:pos x="418" y="186"/>
                  </a:cxn>
                  <a:cxn ang="0">
                    <a:pos x="268" y="414"/>
                  </a:cxn>
                  <a:cxn ang="0">
                    <a:pos x="264" y="414"/>
                  </a:cxn>
                  <a:cxn ang="0">
                    <a:pos x="116" y="188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68" y="226"/>
                  </a:cxn>
                  <a:cxn ang="0">
                    <a:pos x="408" y="0"/>
                  </a:cxn>
                  <a:cxn ang="0">
                    <a:pos x="534" y="0"/>
                  </a:cxn>
                  <a:cxn ang="0">
                    <a:pos x="534" y="536"/>
                  </a:cxn>
                  <a:cxn ang="0">
                    <a:pos x="418" y="536"/>
                  </a:cxn>
                </a:cxnLst>
                <a:rect l="0" t="0" r="r" b="b"/>
                <a:pathLst>
                  <a:path w="534" h="536">
                    <a:moveTo>
                      <a:pt x="418" y="536"/>
                    </a:moveTo>
                    <a:lnTo>
                      <a:pt x="418" y="186"/>
                    </a:lnTo>
                    <a:lnTo>
                      <a:pt x="268" y="414"/>
                    </a:lnTo>
                    <a:lnTo>
                      <a:pt x="264" y="414"/>
                    </a:lnTo>
                    <a:lnTo>
                      <a:pt x="116" y="188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68" y="226"/>
                    </a:lnTo>
                    <a:lnTo>
                      <a:pt x="408" y="0"/>
                    </a:lnTo>
                    <a:lnTo>
                      <a:pt x="534" y="0"/>
                    </a:lnTo>
                    <a:lnTo>
                      <a:pt x="534" y="536"/>
                    </a:lnTo>
                    <a:lnTo>
                      <a:pt x="418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9" name="Freeform 10"/>
              <p:cNvSpPr>
                <a:spLocks/>
              </p:cNvSpPr>
              <p:nvPr userDrawn="1"/>
            </p:nvSpPr>
            <p:spPr bwMode="gray">
              <a:xfrm>
                <a:off x="4535483" y="2139949"/>
                <a:ext cx="781047" cy="850900"/>
              </a:xfrm>
              <a:custGeom>
                <a:avLst/>
                <a:gdLst/>
                <a:ahLst/>
                <a:cxnLst>
                  <a:cxn ang="0">
                    <a:pos x="392" y="536"/>
                  </a:cxn>
                  <a:cxn ang="0">
                    <a:pos x="118" y="194"/>
                  </a:cxn>
                  <a:cxn ang="0">
                    <a:pos x="118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6" y="330"/>
                  </a:cxn>
                  <a:cxn ang="0">
                    <a:pos x="376" y="0"/>
                  </a:cxn>
                  <a:cxn ang="0">
                    <a:pos x="492" y="0"/>
                  </a:cxn>
                  <a:cxn ang="0">
                    <a:pos x="492" y="536"/>
                  </a:cxn>
                  <a:cxn ang="0">
                    <a:pos x="392" y="536"/>
                  </a:cxn>
                </a:cxnLst>
                <a:rect l="0" t="0" r="r" b="b"/>
                <a:pathLst>
                  <a:path w="492" h="536">
                    <a:moveTo>
                      <a:pt x="392" y="536"/>
                    </a:moveTo>
                    <a:lnTo>
                      <a:pt x="118" y="194"/>
                    </a:lnTo>
                    <a:lnTo>
                      <a:pt x="118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6" y="330"/>
                    </a:lnTo>
                    <a:lnTo>
                      <a:pt x="376" y="0"/>
                    </a:lnTo>
                    <a:lnTo>
                      <a:pt x="492" y="0"/>
                    </a:lnTo>
                    <a:lnTo>
                      <a:pt x="492" y="536"/>
                    </a:lnTo>
                    <a:lnTo>
                      <a:pt x="392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0" name="Freeform 11"/>
              <p:cNvSpPr>
                <a:spLocks/>
              </p:cNvSpPr>
              <p:nvPr userDrawn="1"/>
            </p:nvSpPr>
            <p:spPr bwMode="gray">
              <a:xfrm>
                <a:off x="5475287" y="2139949"/>
                <a:ext cx="777874" cy="850900"/>
              </a:xfrm>
              <a:custGeom>
                <a:avLst/>
                <a:gdLst/>
                <a:ahLst/>
                <a:cxnLst>
                  <a:cxn ang="0">
                    <a:pos x="390" y="536"/>
                  </a:cxn>
                  <a:cxn ang="0">
                    <a:pos x="116" y="194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4" y="330"/>
                  </a:cxn>
                  <a:cxn ang="0">
                    <a:pos x="374" y="0"/>
                  </a:cxn>
                  <a:cxn ang="0">
                    <a:pos x="490" y="0"/>
                  </a:cxn>
                  <a:cxn ang="0">
                    <a:pos x="490" y="536"/>
                  </a:cxn>
                  <a:cxn ang="0">
                    <a:pos x="390" y="536"/>
                  </a:cxn>
                </a:cxnLst>
                <a:rect l="0" t="0" r="r" b="b"/>
                <a:pathLst>
                  <a:path w="490" h="536">
                    <a:moveTo>
                      <a:pt x="390" y="536"/>
                    </a:moveTo>
                    <a:lnTo>
                      <a:pt x="116" y="194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4" y="330"/>
                    </a:lnTo>
                    <a:lnTo>
                      <a:pt x="374" y="0"/>
                    </a:lnTo>
                    <a:lnTo>
                      <a:pt x="490" y="0"/>
                    </a:lnTo>
                    <a:lnTo>
                      <a:pt x="490" y="536"/>
                    </a:lnTo>
                    <a:lnTo>
                      <a:pt x="390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1" name="Freeform 12"/>
              <p:cNvSpPr>
                <a:spLocks/>
              </p:cNvSpPr>
              <p:nvPr userDrawn="1"/>
            </p:nvSpPr>
            <p:spPr bwMode="gray">
              <a:xfrm>
                <a:off x="4446584" y="3159123"/>
                <a:ext cx="822323" cy="847727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58" y="414"/>
                  </a:cxn>
                  <a:cxn ang="0">
                    <a:pos x="256" y="414"/>
                  </a:cxn>
                  <a:cxn ang="0">
                    <a:pos x="114" y="188"/>
                  </a:cxn>
                  <a:cxn ang="0">
                    <a:pos x="114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58" y="226"/>
                  </a:cxn>
                  <a:cxn ang="0">
                    <a:pos x="392" y="0"/>
                  </a:cxn>
                  <a:cxn ang="0">
                    <a:pos x="518" y="0"/>
                  </a:cxn>
                  <a:cxn ang="0">
                    <a:pos x="518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18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58" y="414"/>
                    </a:lnTo>
                    <a:lnTo>
                      <a:pt x="256" y="414"/>
                    </a:lnTo>
                    <a:lnTo>
                      <a:pt x="114" y="188"/>
                    </a:lnTo>
                    <a:lnTo>
                      <a:pt x="114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58" y="226"/>
                    </a:lnTo>
                    <a:lnTo>
                      <a:pt x="392" y="0"/>
                    </a:lnTo>
                    <a:lnTo>
                      <a:pt x="518" y="0"/>
                    </a:lnTo>
                    <a:lnTo>
                      <a:pt x="518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2" name="Freeform 13"/>
              <p:cNvSpPr>
                <a:spLocks/>
              </p:cNvSpPr>
              <p:nvPr userDrawn="1"/>
            </p:nvSpPr>
            <p:spPr bwMode="gray">
              <a:xfrm>
                <a:off x="5430835" y="3159123"/>
                <a:ext cx="825501" cy="847727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60" y="414"/>
                  </a:cxn>
                  <a:cxn ang="0">
                    <a:pos x="258" y="414"/>
                  </a:cxn>
                  <a:cxn ang="0">
                    <a:pos x="116" y="188"/>
                  </a:cxn>
                  <a:cxn ang="0">
                    <a:pos x="116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8" y="0"/>
                  </a:cxn>
                  <a:cxn ang="0">
                    <a:pos x="260" y="226"/>
                  </a:cxn>
                  <a:cxn ang="0">
                    <a:pos x="392" y="0"/>
                  </a:cxn>
                  <a:cxn ang="0">
                    <a:pos x="520" y="0"/>
                  </a:cxn>
                  <a:cxn ang="0">
                    <a:pos x="520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20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60" y="414"/>
                    </a:lnTo>
                    <a:lnTo>
                      <a:pt x="258" y="414"/>
                    </a:lnTo>
                    <a:lnTo>
                      <a:pt x="116" y="188"/>
                    </a:lnTo>
                    <a:lnTo>
                      <a:pt x="116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8" y="0"/>
                    </a:lnTo>
                    <a:lnTo>
                      <a:pt x="260" y="226"/>
                    </a:lnTo>
                    <a:lnTo>
                      <a:pt x="392" y="0"/>
                    </a:lnTo>
                    <a:lnTo>
                      <a:pt x="520" y="0"/>
                    </a:lnTo>
                    <a:lnTo>
                      <a:pt x="520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3" name="Freeform 14"/>
              <p:cNvSpPr>
                <a:spLocks/>
              </p:cNvSpPr>
              <p:nvPr userDrawn="1"/>
            </p:nvSpPr>
            <p:spPr bwMode="gray">
              <a:xfrm>
                <a:off x="6415085" y="3159124"/>
                <a:ext cx="650874" cy="847727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410" y="0"/>
                  </a:cxn>
                  <a:cxn ang="0">
                    <a:pos x="410" y="104"/>
                  </a:cxn>
                  <a:cxn ang="0">
                    <a:pos x="118" y="104"/>
                  </a:cxn>
                  <a:cxn ang="0">
                    <a:pos x="118" y="212"/>
                  </a:cxn>
                  <a:cxn ang="0">
                    <a:pos x="378" y="212"/>
                  </a:cxn>
                  <a:cxn ang="0">
                    <a:pos x="378" y="318"/>
                  </a:cxn>
                  <a:cxn ang="0">
                    <a:pos x="118" y="318"/>
                  </a:cxn>
                  <a:cxn ang="0">
                    <a:pos x="118" y="430"/>
                  </a:cxn>
                  <a:cxn ang="0">
                    <a:pos x="410" y="430"/>
                  </a:cxn>
                  <a:cxn ang="0">
                    <a:pos x="410" y="534"/>
                  </a:cxn>
                  <a:cxn ang="0">
                    <a:pos x="0" y="534"/>
                  </a:cxn>
                </a:cxnLst>
                <a:rect l="0" t="0" r="r" b="b"/>
                <a:pathLst>
                  <a:path w="410" h="534">
                    <a:moveTo>
                      <a:pt x="0" y="534"/>
                    </a:moveTo>
                    <a:lnTo>
                      <a:pt x="0" y="0"/>
                    </a:lnTo>
                    <a:lnTo>
                      <a:pt x="410" y="0"/>
                    </a:lnTo>
                    <a:lnTo>
                      <a:pt x="410" y="104"/>
                    </a:lnTo>
                    <a:lnTo>
                      <a:pt x="118" y="104"/>
                    </a:lnTo>
                    <a:lnTo>
                      <a:pt x="118" y="212"/>
                    </a:lnTo>
                    <a:lnTo>
                      <a:pt x="378" y="212"/>
                    </a:lnTo>
                    <a:lnTo>
                      <a:pt x="378" y="318"/>
                    </a:lnTo>
                    <a:lnTo>
                      <a:pt x="118" y="318"/>
                    </a:lnTo>
                    <a:lnTo>
                      <a:pt x="118" y="430"/>
                    </a:lnTo>
                    <a:lnTo>
                      <a:pt x="410" y="430"/>
                    </a:lnTo>
                    <a:lnTo>
                      <a:pt x="410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4" name="Freeform 15"/>
              <p:cNvSpPr>
                <a:spLocks/>
              </p:cNvSpPr>
              <p:nvPr userDrawn="1"/>
            </p:nvSpPr>
            <p:spPr bwMode="gray">
              <a:xfrm>
                <a:off x="7227888" y="3159126"/>
                <a:ext cx="609599" cy="847727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116" y="0"/>
                  </a:cxn>
                  <a:cxn ang="0">
                    <a:pos x="116" y="428"/>
                  </a:cxn>
                  <a:cxn ang="0">
                    <a:pos x="384" y="428"/>
                  </a:cxn>
                  <a:cxn ang="0">
                    <a:pos x="384" y="534"/>
                  </a:cxn>
                  <a:cxn ang="0">
                    <a:pos x="0" y="534"/>
                  </a:cxn>
                </a:cxnLst>
                <a:rect l="0" t="0" r="r" b="b"/>
                <a:pathLst>
                  <a:path w="384" h="534">
                    <a:moveTo>
                      <a:pt x="0" y="534"/>
                    </a:moveTo>
                    <a:lnTo>
                      <a:pt x="0" y="0"/>
                    </a:lnTo>
                    <a:lnTo>
                      <a:pt x="116" y="0"/>
                    </a:lnTo>
                    <a:lnTo>
                      <a:pt x="116" y="428"/>
                    </a:lnTo>
                    <a:lnTo>
                      <a:pt x="384" y="428"/>
                    </a:lnTo>
                    <a:lnTo>
                      <a:pt x="384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5" name="Freeform 16"/>
              <p:cNvSpPr>
                <a:spLocks noEditPoints="1"/>
              </p:cNvSpPr>
              <p:nvPr userDrawn="1"/>
            </p:nvSpPr>
            <p:spPr bwMode="gray">
              <a:xfrm>
                <a:off x="3548063" y="2133600"/>
                <a:ext cx="911225" cy="857251"/>
              </a:xfrm>
              <a:custGeom>
                <a:avLst/>
                <a:gdLst/>
                <a:ahLst/>
                <a:cxnLst>
                  <a:cxn ang="0">
                    <a:pos x="212" y="316"/>
                  </a:cxn>
                  <a:cxn ang="0">
                    <a:pos x="286" y="142"/>
                  </a:cxn>
                  <a:cxn ang="0">
                    <a:pos x="360" y="316"/>
                  </a:cxn>
                  <a:cxn ang="0">
                    <a:pos x="212" y="316"/>
                  </a:cxn>
                  <a:cxn ang="0">
                    <a:pos x="342" y="0"/>
                  </a:cxn>
                  <a:cxn ang="0">
                    <a:pos x="232" y="0"/>
                  </a:cxn>
                  <a:cxn ang="0">
                    <a:pos x="0" y="540"/>
                  </a:cxn>
                  <a:cxn ang="0">
                    <a:pos x="120" y="540"/>
                  </a:cxn>
                  <a:cxn ang="0">
                    <a:pos x="170" y="420"/>
                  </a:cxn>
                  <a:cxn ang="0">
                    <a:pos x="402" y="420"/>
                  </a:cxn>
                  <a:cxn ang="0">
                    <a:pos x="452" y="540"/>
                  </a:cxn>
                  <a:cxn ang="0">
                    <a:pos x="574" y="540"/>
                  </a:cxn>
                  <a:cxn ang="0">
                    <a:pos x="342" y="0"/>
                  </a:cxn>
                </a:cxnLst>
                <a:rect l="0" t="0" r="r" b="b"/>
                <a:pathLst>
                  <a:path w="574" h="540">
                    <a:moveTo>
                      <a:pt x="212" y="316"/>
                    </a:moveTo>
                    <a:lnTo>
                      <a:pt x="286" y="142"/>
                    </a:lnTo>
                    <a:lnTo>
                      <a:pt x="360" y="316"/>
                    </a:lnTo>
                    <a:lnTo>
                      <a:pt x="212" y="316"/>
                    </a:lnTo>
                    <a:close/>
                    <a:moveTo>
                      <a:pt x="342" y="0"/>
                    </a:moveTo>
                    <a:lnTo>
                      <a:pt x="232" y="0"/>
                    </a:lnTo>
                    <a:lnTo>
                      <a:pt x="0" y="540"/>
                    </a:lnTo>
                    <a:lnTo>
                      <a:pt x="120" y="540"/>
                    </a:lnTo>
                    <a:lnTo>
                      <a:pt x="170" y="420"/>
                    </a:lnTo>
                    <a:lnTo>
                      <a:pt x="402" y="420"/>
                    </a:lnTo>
                    <a:lnTo>
                      <a:pt x="452" y="540"/>
                    </a:lnTo>
                    <a:lnTo>
                      <a:pt x="574" y="540"/>
                    </a:lnTo>
                    <a:lnTo>
                      <a:pt x="3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6" name="Freeform 17"/>
              <p:cNvSpPr>
                <a:spLocks/>
              </p:cNvSpPr>
              <p:nvPr userDrawn="1"/>
            </p:nvSpPr>
            <p:spPr bwMode="gray">
              <a:xfrm>
                <a:off x="6538912" y="2139951"/>
                <a:ext cx="873123" cy="850900"/>
              </a:xfrm>
              <a:custGeom>
                <a:avLst/>
                <a:gdLst/>
                <a:ahLst/>
                <a:cxnLst>
                  <a:cxn ang="0">
                    <a:pos x="550" y="212"/>
                  </a:cxn>
                  <a:cxn ang="0">
                    <a:pos x="332" y="212"/>
                  </a:cxn>
                  <a:cxn ang="0">
                    <a:pos x="332" y="0"/>
                  </a:cxn>
                  <a:cxn ang="0">
                    <a:pos x="220" y="0"/>
                  </a:cxn>
                  <a:cxn ang="0">
                    <a:pos x="220" y="212"/>
                  </a:cxn>
                  <a:cxn ang="0">
                    <a:pos x="0" y="212"/>
                  </a:cxn>
                  <a:cxn ang="0">
                    <a:pos x="0" y="322"/>
                  </a:cxn>
                  <a:cxn ang="0">
                    <a:pos x="220" y="322"/>
                  </a:cxn>
                  <a:cxn ang="0">
                    <a:pos x="220" y="536"/>
                  </a:cxn>
                  <a:cxn ang="0">
                    <a:pos x="332" y="536"/>
                  </a:cxn>
                  <a:cxn ang="0">
                    <a:pos x="332" y="322"/>
                  </a:cxn>
                  <a:cxn ang="0">
                    <a:pos x="550" y="322"/>
                  </a:cxn>
                  <a:cxn ang="0">
                    <a:pos x="550" y="212"/>
                  </a:cxn>
                </a:cxnLst>
                <a:rect l="0" t="0" r="r" b="b"/>
                <a:pathLst>
                  <a:path w="550" h="536">
                    <a:moveTo>
                      <a:pt x="550" y="212"/>
                    </a:moveTo>
                    <a:lnTo>
                      <a:pt x="332" y="212"/>
                    </a:lnTo>
                    <a:lnTo>
                      <a:pt x="332" y="0"/>
                    </a:lnTo>
                    <a:lnTo>
                      <a:pt x="220" y="0"/>
                    </a:lnTo>
                    <a:lnTo>
                      <a:pt x="220" y="212"/>
                    </a:lnTo>
                    <a:lnTo>
                      <a:pt x="0" y="212"/>
                    </a:lnTo>
                    <a:lnTo>
                      <a:pt x="0" y="322"/>
                    </a:lnTo>
                    <a:lnTo>
                      <a:pt x="220" y="322"/>
                    </a:lnTo>
                    <a:lnTo>
                      <a:pt x="220" y="536"/>
                    </a:lnTo>
                    <a:lnTo>
                      <a:pt x="332" y="536"/>
                    </a:lnTo>
                    <a:lnTo>
                      <a:pt x="332" y="322"/>
                    </a:lnTo>
                    <a:lnTo>
                      <a:pt x="550" y="322"/>
                    </a:lnTo>
                    <a:lnTo>
                      <a:pt x="550" y="2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7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 rot="21180000">
            <a:off x="2333003" y="3288704"/>
            <a:ext cx="3709015" cy="251546"/>
          </a:xfrm>
        </p:spPr>
        <p:txBody>
          <a:bodyPr anchor="b">
            <a:normAutofit/>
          </a:bodyPr>
          <a:lstStyle>
            <a:lvl1pPr marL="0">
              <a:spcAft>
                <a:spcPts val="0"/>
              </a:spcAft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9pPr>
          </a:lstStyle>
          <a:p>
            <a:pPr lvl="0"/>
            <a:r>
              <a:rPr lang="en-US" noProof="0" dirty="0"/>
              <a:t>Position</a:t>
            </a:r>
          </a:p>
        </p:txBody>
      </p:sp>
      <p:sp>
        <p:nvSpPr>
          <p:cNvPr id="68" name="Titel 5"/>
          <p:cNvSpPr>
            <a:spLocks noGrp="1"/>
          </p:cNvSpPr>
          <p:nvPr>
            <p:ph type="title" hasCustomPrompt="1"/>
          </p:nvPr>
        </p:nvSpPr>
        <p:spPr bwMode="gray">
          <a:xfrm rot="21180000">
            <a:off x="2293556" y="2889175"/>
            <a:ext cx="3710216" cy="400459"/>
          </a:xfrm>
          <a:solidFill>
            <a:schemeClr val="bg1"/>
          </a:solidFill>
        </p:spPr>
        <p:txBody>
          <a:bodyPr vert="horz" lIns="0" tIns="0" rIns="0" bIns="0" anchor="b">
            <a:noAutofit/>
          </a:bodyPr>
          <a:lstStyle>
            <a:lvl1pPr marL="0" marR="0" indent="0" algn="l" defTabSz="4570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/>
            </a:lvl1pPr>
          </a:lstStyle>
          <a:p>
            <a:r>
              <a:rPr lang="en-US" noProof="0" dirty="0"/>
              <a:t>Name Surname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 rot="21179971">
            <a:off x="2415264" y="3791481"/>
            <a:ext cx="1531791" cy="767067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 dirty="0"/>
              <a:t>MANN+HUMMEL</a:t>
            </a:r>
            <a:br>
              <a:rPr lang="en-US" noProof="0" dirty="0"/>
            </a:br>
            <a:r>
              <a:rPr lang="en-US" noProof="0" dirty="0"/>
              <a:t>Address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20" hasCustomPrompt="1"/>
          </p:nvPr>
        </p:nvSpPr>
        <p:spPr bwMode="gray">
          <a:xfrm rot="21179971">
            <a:off x="3975156" y="3563963"/>
            <a:ext cx="2142240" cy="767067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tabLst>
                <a:tab pos="449128" algn="l"/>
              </a:tabLst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 dirty="0"/>
              <a:t>Phone   +xx </a:t>
            </a:r>
            <a:r>
              <a:rPr lang="en-US" noProof="0" dirty="0" err="1"/>
              <a:t>xxxx</a:t>
            </a:r>
            <a:r>
              <a:rPr lang="en-US" noProof="0" dirty="0"/>
              <a:t> xx-xx</a:t>
            </a:r>
            <a:br>
              <a:rPr lang="en-US" noProof="0" dirty="0"/>
            </a:br>
            <a:r>
              <a:rPr lang="en-US" noProof="0" dirty="0"/>
              <a:t>Fax        +xx </a:t>
            </a:r>
            <a:r>
              <a:rPr lang="en-US" noProof="0" dirty="0" err="1"/>
              <a:t>xxxx</a:t>
            </a:r>
            <a:r>
              <a:rPr lang="en-US" noProof="0" dirty="0"/>
              <a:t> xx-xx</a:t>
            </a:r>
            <a:br>
              <a:rPr lang="en-US" noProof="0" dirty="0"/>
            </a:br>
            <a:r>
              <a:rPr lang="en-US" noProof="0" dirty="0"/>
              <a:t>Mobile    +xx </a:t>
            </a:r>
            <a:r>
              <a:rPr lang="en-US" noProof="0" dirty="0" err="1"/>
              <a:t>xxxx</a:t>
            </a:r>
            <a:r>
              <a:rPr lang="en-US" noProof="0" dirty="0"/>
              <a:t> xx xxx</a:t>
            </a:r>
            <a:br>
              <a:rPr lang="en-US" noProof="0" dirty="0"/>
            </a:br>
            <a:r>
              <a:rPr lang="en-US" noProof="0" dirty="0"/>
              <a:t>max.mustermann@mann-hummel.com</a:t>
            </a:r>
            <a:br>
              <a:rPr lang="en-US" noProof="0" dirty="0"/>
            </a:br>
            <a:r>
              <a:rPr lang="en-US" noProof="0" dirty="0"/>
              <a:t>www.mann-hummel.com</a:t>
            </a:r>
          </a:p>
        </p:txBody>
      </p:sp>
      <p:grpSp>
        <p:nvGrpSpPr>
          <p:cNvPr id="71" name="Gruppierung 2"/>
          <p:cNvGrpSpPr>
            <a:grpSpLocks noChangeAspect="1"/>
          </p:cNvGrpSpPr>
          <p:nvPr userDrawn="1"/>
        </p:nvGrpSpPr>
        <p:grpSpPr bwMode="gray">
          <a:xfrm rot="21208675">
            <a:off x="6089739" y="2067126"/>
            <a:ext cx="4104875" cy="2659484"/>
            <a:chOff x="3013829" y="1420446"/>
            <a:chExt cx="3412816" cy="2210534"/>
          </a:xfrm>
        </p:grpSpPr>
        <p:sp>
          <p:nvSpPr>
            <p:cNvPr id="72" name="Rechteck 71"/>
            <p:cNvSpPr/>
            <p:nvPr/>
          </p:nvSpPr>
          <p:spPr bwMode="gray">
            <a:xfrm>
              <a:off x="3013829" y="1420446"/>
              <a:ext cx="3412816" cy="2210534"/>
            </a:xfrm>
            <a:prstGeom prst="rect">
              <a:avLst/>
            </a:prstGeom>
            <a:solidFill>
              <a:schemeClr val="bg1"/>
            </a:solidFill>
            <a:ln w="28575" cap="sq" cmpd="sng">
              <a:noFill/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99" dirty="0">
                <a:solidFill>
                  <a:prstClr val="white"/>
                </a:solidFill>
              </a:endParaRPr>
            </a:p>
          </p:txBody>
        </p:sp>
        <p:grpSp>
          <p:nvGrpSpPr>
            <p:cNvPr id="73" name="Gruppierung 17"/>
            <p:cNvGrpSpPr/>
            <p:nvPr userDrawn="1"/>
          </p:nvGrpSpPr>
          <p:grpSpPr bwMode="gray">
            <a:xfrm>
              <a:off x="5378643" y="1587443"/>
              <a:ext cx="883009" cy="319627"/>
              <a:chOff x="2627313" y="2133600"/>
              <a:chExt cx="5210175" cy="1885950"/>
            </a:xfrm>
            <a:solidFill>
              <a:schemeClr val="accent1"/>
            </a:solidFill>
          </p:grpSpPr>
          <p:sp>
            <p:nvSpPr>
              <p:cNvPr id="74" name="Freeform 6"/>
              <p:cNvSpPr>
                <a:spLocks/>
              </p:cNvSpPr>
              <p:nvPr userDrawn="1"/>
            </p:nvSpPr>
            <p:spPr bwMode="gray">
              <a:xfrm>
                <a:off x="2627313" y="3159125"/>
                <a:ext cx="749300" cy="847725"/>
              </a:xfrm>
              <a:custGeom>
                <a:avLst/>
                <a:gdLst/>
                <a:ahLst/>
                <a:cxnLst>
                  <a:cxn ang="0">
                    <a:pos x="354" y="534"/>
                  </a:cxn>
                  <a:cxn ang="0">
                    <a:pos x="354" y="320"/>
                  </a:cxn>
                  <a:cxn ang="0">
                    <a:pos x="118" y="320"/>
                  </a:cxn>
                  <a:cxn ang="0">
                    <a:pos x="118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18" y="0"/>
                  </a:cxn>
                  <a:cxn ang="0">
                    <a:pos x="118" y="212"/>
                  </a:cxn>
                  <a:cxn ang="0">
                    <a:pos x="354" y="212"/>
                  </a:cxn>
                  <a:cxn ang="0">
                    <a:pos x="354" y="0"/>
                  </a:cxn>
                  <a:cxn ang="0">
                    <a:pos x="472" y="0"/>
                  </a:cxn>
                  <a:cxn ang="0">
                    <a:pos x="472" y="534"/>
                  </a:cxn>
                  <a:cxn ang="0">
                    <a:pos x="354" y="534"/>
                  </a:cxn>
                </a:cxnLst>
                <a:rect l="0" t="0" r="r" b="b"/>
                <a:pathLst>
                  <a:path w="472" h="534">
                    <a:moveTo>
                      <a:pt x="354" y="534"/>
                    </a:moveTo>
                    <a:lnTo>
                      <a:pt x="354" y="320"/>
                    </a:lnTo>
                    <a:lnTo>
                      <a:pt x="118" y="320"/>
                    </a:lnTo>
                    <a:lnTo>
                      <a:pt x="118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212"/>
                    </a:lnTo>
                    <a:lnTo>
                      <a:pt x="354" y="212"/>
                    </a:lnTo>
                    <a:lnTo>
                      <a:pt x="354" y="0"/>
                    </a:lnTo>
                    <a:lnTo>
                      <a:pt x="472" y="0"/>
                    </a:lnTo>
                    <a:lnTo>
                      <a:pt x="472" y="534"/>
                    </a:lnTo>
                    <a:lnTo>
                      <a:pt x="354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5" name="Freeform 7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6" name="Freeform 8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7" name="Freeform 9"/>
              <p:cNvSpPr>
                <a:spLocks/>
              </p:cNvSpPr>
              <p:nvPr userDrawn="1"/>
            </p:nvSpPr>
            <p:spPr bwMode="gray">
              <a:xfrm>
                <a:off x="2627313" y="2139950"/>
                <a:ext cx="847725" cy="850900"/>
              </a:xfrm>
              <a:custGeom>
                <a:avLst/>
                <a:gdLst/>
                <a:ahLst/>
                <a:cxnLst>
                  <a:cxn ang="0">
                    <a:pos x="418" y="536"/>
                  </a:cxn>
                  <a:cxn ang="0">
                    <a:pos x="418" y="186"/>
                  </a:cxn>
                  <a:cxn ang="0">
                    <a:pos x="268" y="414"/>
                  </a:cxn>
                  <a:cxn ang="0">
                    <a:pos x="264" y="414"/>
                  </a:cxn>
                  <a:cxn ang="0">
                    <a:pos x="116" y="188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68" y="226"/>
                  </a:cxn>
                  <a:cxn ang="0">
                    <a:pos x="408" y="0"/>
                  </a:cxn>
                  <a:cxn ang="0">
                    <a:pos x="534" y="0"/>
                  </a:cxn>
                  <a:cxn ang="0">
                    <a:pos x="534" y="536"/>
                  </a:cxn>
                  <a:cxn ang="0">
                    <a:pos x="418" y="536"/>
                  </a:cxn>
                </a:cxnLst>
                <a:rect l="0" t="0" r="r" b="b"/>
                <a:pathLst>
                  <a:path w="534" h="536">
                    <a:moveTo>
                      <a:pt x="418" y="536"/>
                    </a:moveTo>
                    <a:lnTo>
                      <a:pt x="418" y="186"/>
                    </a:lnTo>
                    <a:lnTo>
                      <a:pt x="268" y="414"/>
                    </a:lnTo>
                    <a:lnTo>
                      <a:pt x="264" y="414"/>
                    </a:lnTo>
                    <a:lnTo>
                      <a:pt x="116" y="188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68" y="226"/>
                    </a:lnTo>
                    <a:lnTo>
                      <a:pt x="408" y="0"/>
                    </a:lnTo>
                    <a:lnTo>
                      <a:pt x="534" y="0"/>
                    </a:lnTo>
                    <a:lnTo>
                      <a:pt x="534" y="536"/>
                    </a:lnTo>
                    <a:lnTo>
                      <a:pt x="418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8" name="Freeform 10"/>
              <p:cNvSpPr>
                <a:spLocks/>
              </p:cNvSpPr>
              <p:nvPr userDrawn="1"/>
            </p:nvSpPr>
            <p:spPr bwMode="gray">
              <a:xfrm>
                <a:off x="4535488" y="2139950"/>
                <a:ext cx="781050" cy="850900"/>
              </a:xfrm>
              <a:custGeom>
                <a:avLst/>
                <a:gdLst/>
                <a:ahLst/>
                <a:cxnLst>
                  <a:cxn ang="0">
                    <a:pos x="392" y="536"/>
                  </a:cxn>
                  <a:cxn ang="0">
                    <a:pos x="118" y="194"/>
                  </a:cxn>
                  <a:cxn ang="0">
                    <a:pos x="118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6" y="330"/>
                  </a:cxn>
                  <a:cxn ang="0">
                    <a:pos x="376" y="0"/>
                  </a:cxn>
                  <a:cxn ang="0">
                    <a:pos x="492" y="0"/>
                  </a:cxn>
                  <a:cxn ang="0">
                    <a:pos x="492" y="536"/>
                  </a:cxn>
                  <a:cxn ang="0">
                    <a:pos x="392" y="536"/>
                  </a:cxn>
                </a:cxnLst>
                <a:rect l="0" t="0" r="r" b="b"/>
                <a:pathLst>
                  <a:path w="492" h="536">
                    <a:moveTo>
                      <a:pt x="392" y="536"/>
                    </a:moveTo>
                    <a:lnTo>
                      <a:pt x="118" y="194"/>
                    </a:lnTo>
                    <a:lnTo>
                      <a:pt x="118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6" y="330"/>
                    </a:lnTo>
                    <a:lnTo>
                      <a:pt x="376" y="0"/>
                    </a:lnTo>
                    <a:lnTo>
                      <a:pt x="492" y="0"/>
                    </a:lnTo>
                    <a:lnTo>
                      <a:pt x="492" y="536"/>
                    </a:lnTo>
                    <a:lnTo>
                      <a:pt x="392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9" name="Freeform 11"/>
              <p:cNvSpPr>
                <a:spLocks/>
              </p:cNvSpPr>
              <p:nvPr userDrawn="1"/>
            </p:nvSpPr>
            <p:spPr bwMode="gray">
              <a:xfrm>
                <a:off x="5475288" y="2139950"/>
                <a:ext cx="777875" cy="850900"/>
              </a:xfrm>
              <a:custGeom>
                <a:avLst/>
                <a:gdLst/>
                <a:ahLst/>
                <a:cxnLst>
                  <a:cxn ang="0">
                    <a:pos x="390" y="536"/>
                  </a:cxn>
                  <a:cxn ang="0">
                    <a:pos x="116" y="194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4" y="330"/>
                  </a:cxn>
                  <a:cxn ang="0">
                    <a:pos x="374" y="0"/>
                  </a:cxn>
                  <a:cxn ang="0">
                    <a:pos x="490" y="0"/>
                  </a:cxn>
                  <a:cxn ang="0">
                    <a:pos x="490" y="536"/>
                  </a:cxn>
                  <a:cxn ang="0">
                    <a:pos x="390" y="536"/>
                  </a:cxn>
                </a:cxnLst>
                <a:rect l="0" t="0" r="r" b="b"/>
                <a:pathLst>
                  <a:path w="490" h="536">
                    <a:moveTo>
                      <a:pt x="390" y="536"/>
                    </a:moveTo>
                    <a:lnTo>
                      <a:pt x="116" y="194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4" y="330"/>
                    </a:lnTo>
                    <a:lnTo>
                      <a:pt x="374" y="0"/>
                    </a:lnTo>
                    <a:lnTo>
                      <a:pt x="490" y="0"/>
                    </a:lnTo>
                    <a:lnTo>
                      <a:pt x="490" y="536"/>
                    </a:lnTo>
                    <a:lnTo>
                      <a:pt x="390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0" name="Freeform 12"/>
              <p:cNvSpPr>
                <a:spLocks/>
              </p:cNvSpPr>
              <p:nvPr userDrawn="1"/>
            </p:nvSpPr>
            <p:spPr bwMode="gray">
              <a:xfrm>
                <a:off x="4446588" y="3159125"/>
                <a:ext cx="822325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58" y="414"/>
                  </a:cxn>
                  <a:cxn ang="0">
                    <a:pos x="256" y="414"/>
                  </a:cxn>
                  <a:cxn ang="0">
                    <a:pos x="114" y="188"/>
                  </a:cxn>
                  <a:cxn ang="0">
                    <a:pos x="114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58" y="226"/>
                  </a:cxn>
                  <a:cxn ang="0">
                    <a:pos x="392" y="0"/>
                  </a:cxn>
                  <a:cxn ang="0">
                    <a:pos x="518" y="0"/>
                  </a:cxn>
                  <a:cxn ang="0">
                    <a:pos x="518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18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58" y="414"/>
                    </a:lnTo>
                    <a:lnTo>
                      <a:pt x="256" y="414"/>
                    </a:lnTo>
                    <a:lnTo>
                      <a:pt x="114" y="188"/>
                    </a:lnTo>
                    <a:lnTo>
                      <a:pt x="114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58" y="226"/>
                    </a:lnTo>
                    <a:lnTo>
                      <a:pt x="392" y="0"/>
                    </a:lnTo>
                    <a:lnTo>
                      <a:pt x="518" y="0"/>
                    </a:lnTo>
                    <a:lnTo>
                      <a:pt x="518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1" name="Freeform 13"/>
              <p:cNvSpPr>
                <a:spLocks/>
              </p:cNvSpPr>
              <p:nvPr userDrawn="1"/>
            </p:nvSpPr>
            <p:spPr bwMode="gray">
              <a:xfrm>
                <a:off x="5430838" y="3159125"/>
                <a:ext cx="825500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60" y="414"/>
                  </a:cxn>
                  <a:cxn ang="0">
                    <a:pos x="258" y="414"/>
                  </a:cxn>
                  <a:cxn ang="0">
                    <a:pos x="116" y="188"/>
                  </a:cxn>
                  <a:cxn ang="0">
                    <a:pos x="116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8" y="0"/>
                  </a:cxn>
                  <a:cxn ang="0">
                    <a:pos x="260" y="226"/>
                  </a:cxn>
                  <a:cxn ang="0">
                    <a:pos x="392" y="0"/>
                  </a:cxn>
                  <a:cxn ang="0">
                    <a:pos x="520" y="0"/>
                  </a:cxn>
                  <a:cxn ang="0">
                    <a:pos x="520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20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60" y="414"/>
                    </a:lnTo>
                    <a:lnTo>
                      <a:pt x="258" y="414"/>
                    </a:lnTo>
                    <a:lnTo>
                      <a:pt x="116" y="188"/>
                    </a:lnTo>
                    <a:lnTo>
                      <a:pt x="116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8" y="0"/>
                    </a:lnTo>
                    <a:lnTo>
                      <a:pt x="260" y="226"/>
                    </a:lnTo>
                    <a:lnTo>
                      <a:pt x="392" y="0"/>
                    </a:lnTo>
                    <a:lnTo>
                      <a:pt x="520" y="0"/>
                    </a:lnTo>
                    <a:lnTo>
                      <a:pt x="520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2" name="Freeform 14"/>
              <p:cNvSpPr>
                <a:spLocks/>
              </p:cNvSpPr>
              <p:nvPr userDrawn="1"/>
            </p:nvSpPr>
            <p:spPr bwMode="gray">
              <a:xfrm>
                <a:off x="6415088" y="3159125"/>
                <a:ext cx="650875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410" y="0"/>
                  </a:cxn>
                  <a:cxn ang="0">
                    <a:pos x="410" y="104"/>
                  </a:cxn>
                  <a:cxn ang="0">
                    <a:pos x="118" y="104"/>
                  </a:cxn>
                  <a:cxn ang="0">
                    <a:pos x="118" y="212"/>
                  </a:cxn>
                  <a:cxn ang="0">
                    <a:pos x="378" y="212"/>
                  </a:cxn>
                  <a:cxn ang="0">
                    <a:pos x="378" y="318"/>
                  </a:cxn>
                  <a:cxn ang="0">
                    <a:pos x="118" y="318"/>
                  </a:cxn>
                  <a:cxn ang="0">
                    <a:pos x="118" y="430"/>
                  </a:cxn>
                  <a:cxn ang="0">
                    <a:pos x="410" y="430"/>
                  </a:cxn>
                  <a:cxn ang="0">
                    <a:pos x="410" y="534"/>
                  </a:cxn>
                  <a:cxn ang="0">
                    <a:pos x="0" y="534"/>
                  </a:cxn>
                </a:cxnLst>
                <a:rect l="0" t="0" r="r" b="b"/>
                <a:pathLst>
                  <a:path w="410" h="534">
                    <a:moveTo>
                      <a:pt x="0" y="534"/>
                    </a:moveTo>
                    <a:lnTo>
                      <a:pt x="0" y="0"/>
                    </a:lnTo>
                    <a:lnTo>
                      <a:pt x="410" y="0"/>
                    </a:lnTo>
                    <a:lnTo>
                      <a:pt x="410" y="104"/>
                    </a:lnTo>
                    <a:lnTo>
                      <a:pt x="118" y="104"/>
                    </a:lnTo>
                    <a:lnTo>
                      <a:pt x="118" y="212"/>
                    </a:lnTo>
                    <a:lnTo>
                      <a:pt x="378" y="212"/>
                    </a:lnTo>
                    <a:lnTo>
                      <a:pt x="378" y="318"/>
                    </a:lnTo>
                    <a:lnTo>
                      <a:pt x="118" y="318"/>
                    </a:lnTo>
                    <a:lnTo>
                      <a:pt x="118" y="430"/>
                    </a:lnTo>
                    <a:lnTo>
                      <a:pt x="410" y="430"/>
                    </a:lnTo>
                    <a:lnTo>
                      <a:pt x="410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3" name="Freeform 15"/>
              <p:cNvSpPr>
                <a:spLocks/>
              </p:cNvSpPr>
              <p:nvPr userDrawn="1"/>
            </p:nvSpPr>
            <p:spPr bwMode="gray">
              <a:xfrm>
                <a:off x="7227888" y="3159125"/>
                <a:ext cx="609600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116" y="0"/>
                  </a:cxn>
                  <a:cxn ang="0">
                    <a:pos x="116" y="428"/>
                  </a:cxn>
                  <a:cxn ang="0">
                    <a:pos x="384" y="428"/>
                  </a:cxn>
                  <a:cxn ang="0">
                    <a:pos x="384" y="534"/>
                  </a:cxn>
                  <a:cxn ang="0">
                    <a:pos x="0" y="534"/>
                  </a:cxn>
                </a:cxnLst>
                <a:rect l="0" t="0" r="r" b="b"/>
                <a:pathLst>
                  <a:path w="384" h="534">
                    <a:moveTo>
                      <a:pt x="0" y="534"/>
                    </a:moveTo>
                    <a:lnTo>
                      <a:pt x="0" y="0"/>
                    </a:lnTo>
                    <a:lnTo>
                      <a:pt x="116" y="0"/>
                    </a:lnTo>
                    <a:lnTo>
                      <a:pt x="116" y="428"/>
                    </a:lnTo>
                    <a:lnTo>
                      <a:pt x="384" y="428"/>
                    </a:lnTo>
                    <a:lnTo>
                      <a:pt x="384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4" name="Freeform 16"/>
              <p:cNvSpPr>
                <a:spLocks noEditPoints="1"/>
              </p:cNvSpPr>
              <p:nvPr userDrawn="1"/>
            </p:nvSpPr>
            <p:spPr bwMode="gray">
              <a:xfrm>
                <a:off x="3548063" y="2133600"/>
                <a:ext cx="911225" cy="857250"/>
              </a:xfrm>
              <a:custGeom>
                <a:avLst/>
                <a:gdLst/>
                <a:ahLst/>
                <a:cxnLst>
                  <a:cxn ang="0">
                    <a:pos x="212" y="316"/>
                  </a:cxn>
                  <a:cxn ang="0">
                    <a:pos x="286" y="142"/>
                  </a:cxn>
                  <a:cxn ang="0">
                    <a:pos x="360" y="316"/>
                  </a:cxn>
                  <a:cxn ang="0">
                    <a:pos x="212" y="316"/>
                  </a:cxn>
                  <a:cxn ang="0">
                    <a:pos x="342" y="0"/>
                  </a:cxn>
                  <a:cxn ang="0">
                    <a:pos x="232" y="0"/>
                  </a:cxn>
                  <a:cxn ang="0">
                    <a:pos x="0" y="540"/>
                  </a:cxn>
                  <a:cxn ang="0">
                    <a:pos x="120" y="540"/>
                  </a:cxn>
                  <a:cxn ang="0">
                    <a:pos x="170" y="420"/>
                  </a:cxn>
                  <a:cxn ang="0">
                    <a:pos x="402" y="420"/>
                  </a:cxn>
                  <a:cxn ang="0">
                    <a:pos x="452" y="540"/>
                  </a:cxn>
                  <a:cxn ang="0">
                    <a:pos x="574" y="540"/>
                  </a:cxn>
                  <a:cxn ang="0">
                    <a:pos x="342" y="0"/>
                  </a:cxn>
                </a:cxnLst>
                <a:rect l="0" t="0" r="r" b="b"/>
                <a:pathLst>
                  <a:path w="574" h="540">
                    <a:moveTo>
                      <a:pt x="212" y="316"/>
                    </a:moveTo>
                    <a:lnTo>
                      <a:pt x="286" y="142"/>
                    </a:lnTo>
                    <a:lnTo>
                      <a:pt x="360" y="316"/>
                    </a:lnTo>
                    <a:lnTo>
                      <a:pt x="212" y="316"/>
                    </a:lnTo>
                    <a:close/>
                    <a:moveTo>
                      <a:pt x="342" y="0"/>
                    </a:moveTo>
                    <a:lnTo>
                      <a:pt x="232" y="0"/>
                    </a:lnTo>
                    <a:lnTo>
                      <a:pt x="0" y="540"/>
                    </a:lnTo>
                    <a:lnTo>
                      <a:pt x="120" y="540"/>
                    </a:lnTo>
                    <a:lnTo>
                      <a:pt x="170" y="420"/>
                    </a:lnTo>
                    <a:lnTo>
                      <a:pt x="402" y="420"/>
                    </a:lnTo>
                    <a:lnTo>
                      <a:pt x="452" y="540"/>
                    </a:lnTo>
                    <a:lnTo>
                      <a:pt x="574" y="540"/>
                    </a:lnTo>
                    <a:lnTo>
                      <a:pt x="3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5" name="Freeform 17"/>
              <p:cNvSpPr>
                <a:spLocks/>
              </p:cNvSpPr>
              <p:nvPr userDrawn="1"/>
            </p:nvSpPr>
            <p:spPr bwMode="gray">
              <a:xfrm>
                <a:off x="6538913" y="2139950"/>
                <a:ext cx="873125" cy="850900"/>
              </a:xfrm>
              <a:custGeom>
                <a:avLst/>
                <a:gdLst/>
                <a:ahLst/>
                <a:cxnLst>
                  <a:cxn ang="0">
                    <a:pos x="550" y="212"/>
                  </a:cxn>
                  <a:cxn ang="0">
                    <a:pos x="332" y="212"/>
                  </a:cxn>
                  <a:cxn ang="0">
                    <a:pos x="332" y="0"/>
                  </a:cxn>
                  <a:cxn ang="0">
                    <a:pos x="220" y="0"/>
                  </a:cxn>
                  <a:cxn ang="0">
                    <a:pos x="220" y="212"/>
                  </a:cxn>
                  <a:cxn ang="0">
                    <a:pos x="0" y="212"/>
                  </a:cxn>
                  <a:cxn ang="0">
                    <a:pos x="0" y="322"/>
                  </a:cxn>
                  <a:cxn ang="0">
                    <a:pos x="220" y="322"/>
                  </a:cxn>
                  <a:cxn ang="0">
                    <a:pos x="220" y="536"/>
                  </a:cxn>
                  <a:cxn ang="0">
                    <a:pos x="332" y="536"/>
                  </a:cxn>
                  <a:cxn ang="0">
                    <a:pos x="332" y="322"/>
                  </a:cxn>
                  <a:cxn ang="0">
                    <a:pos x="550" y="322"/>
                  </a:cxn>
                  <a:cxn ang="0">
                    <a:pos x="550" y="212"/>
                  </a:cxn>
                </a:cxnLst>
                <a:rect l="0" t="0" r="r" b="b"/>
                <a:pathLst>
                  <a:path w="550" h="536">
                    <a:moveTo>
                      <a:pt x="550" y="212"/>
                    </a:moveTo>
                    <a:lnTo>
                      <a:pt x="332" y="212"/>
                    </a:lnTo>
                    <a:lnTo>
                      <a:pt x="332" y="0"/>
                    </a:lnTo>
                    <a:lnTo>
                      <a:pt x="220" y="0"/>
                    </a:lnTo>
                    <a:lnTo>
                      <a:pt x="220" y="212"/>
                    </a:lnTo>
                    <a:lnTo>
                      <a:pt x="0" y="212"/>
                    </a:lnTo>
                    <a:lnTo>
                      <a:pt x="0" y="322"/>
                    </a:lnTo>
                    <a:lnTo>
                      <a:pt x="220" y="322"/>
                    </a:lnTo>
                    <a:lnTo>
                      <a:pt x="220" y="536"/>
                    </a:lnTo>
                    <a:lnTo>
                      <a:pt x="332" y="536"/>
                    </a:lnTo>
                    <a:lnTo>
                      <a:pt x="332" y="322"/>
                    </a:lnTo>
                    <a:lnTo>
                      <a:pt x="550" y="322"/>
                    </a:lnTo>
                    <a:lnTo>
                      <a:pt x="550" y="2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86" name="Textplatzhalter 2"/>
          <p:cNvSpPr>
            <a:spLocks noGrp="1"/>
          </p:cNvSpPr>
          <p:nvPr>
            <p:ph type="body" sz="quarter" idx="21" hasCustomPrompt="1"/>
          </p:nvPr>
        </p:nvSpPr>
        <p:spPr bwMode="gray">
          <a:xfrm rot="21180000">
            <a:off x="6343594" y="3288704"/>
            <a:ext cx="3709015" cy="251546"/>
          </a:xfrm>
        </p:spPr>
        <p:txBody>
          <a:bodyPr anchor="b">
            <a:normAutofit/>
          </a:bodyPr>
          <a:lstStyle>
            <a:lvl1pPr marL="0">
              <a:spcAft>
                <a:spcPts val="0"/>
              </a:spcAft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9pPr>
          </a:lstStyle>
          <a:p>
            <a:pPr lvl="0"/>
            <a:r>
              <a:rPr lang="en-US" noProof="0" dirty="0"/>
              <a:t>Position</a:t>
            </a:r>
          </a:p>
        </p:txBody>
      </p:sp>
      <p:sp>
        <p:nvSpPr>
          <p:cNvPr id="88" name="Textplatzhalter 3"/>
          <p:cNvSpPr>
            <a:spLocks noGrp="1"/>
          </p:cNvSpPr>
          <p:nvPr>
            <p:ph type="body" sz="quarter" idx="22" hasCustomPrompt="1"/>
          </p:nvPr>
        </p:nvSpPr>
        <p:spPr bwMode="gray">
          <a:xfrm rot="21179971">
            <a:off x="6425855" y="3791481"/>
            <a:ext cx="1531791" cy="767067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 dirty="0"/>
              <a:t>MANN+HUMMEL</a:t>
            </a:r>
            <a:br>
              <a:rPr lang="en-US" noProof="0" dirty="0"/>
            </a:br>
            <a:r>
              <a:rPr lang="en-US" noProof="0" dirty="0"/>
              <a:t>Address</a:t>
            </a:r>
          </a:p>
        </p:txBody>
      </p:sp>
      <p:sp>
        <p:nvSpPr>
          <p:cNvPr id="89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 rot="21179971">
            <a:off x="7985746" y="3563963"/>
            <a:ext cx="2142240" cy="767067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tabLst>
                <a:tab pos="449128" algn="l"/>
              </a:tabLst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 dirty="0"/>
              <a:t>Phone   +xx </a:t>
            </a:r>
            <a:r>
              <a:rPr lang="en-US" noProof="0" dirty="0" err="1"/>
              <a:t>xxxx</a:t>
            </a:r>
            <a:r>
              <a:rPr lang="en-US" noProof="0" dirty="0"/>
              <a:t> xx-xx</a:t>
            </a:r>
            <a:br>
              <a:rPr lang="en-US" noProof="0" dirty="0"/>
            </a:br>
            <a:r>
              <a:rPr lang="en-US" noProof="0" dirty="0"/>
              <a:t>Fax        +xx </a:t>
            </a:r>
            <a:r>
              <a:rPr lang="en-US" noProof="0" dirty="0" err="1"/>
              <a:t>xxxx</a:t>
            </a:r>
            <a:r>
              <a:rPr lang="en-US" noProof="0" dirty="0"/>
              <a:t> xx-xx</a:t>
            </a:r>
            <a:br>
              <a:rPr lang="en-US" noProof="0" dirty="0"/>
            </a:br>
            <a:r>
              <a:rPr lang="en-US" noProof="0" dirty="0"/>
              <a:t>Mobile    +xx </a:t>
            </a:r>
            <a:r>
              <a:rPr lang="en-US" noProof="0" dirty="0" err="1"/>
              <a:t>xxxx</a:t>
            </a:r>
            <a:r>
              <a:rPr lang="en-US" noProof="0" dirty="0"/>
              <a:t> xx xxx</a:t>
            </a:r>
            <a:br>
              <a:rPr lang="en-US" noProof="0" dirty="0"/>
            </a:br>
            <a:r>
              <a:rPr lang="en-US" noProof="0" dirty="0"/>
              <a:t>max.mustermann@mann-hummel.com</a:t>
            </a:r>
            <a:br>
              <a:rPr lang="en-US" noProof="0" dirty="0"/>
            </a:br>
            <a:r>
              <a:rPr lang="en-US" noProof="0" dirty="0"/>
              <a:t>www.mann-hummel.com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4" hasCustomPrompt="1"/>
          </p:nvPr>
        </p:nvSpPr>
        <p:spPr>
          <a:xfrm rot="21180000">
            <a:off x="6303251" y="2859179"/>
            <a:ext cx="3706682" cy="431800"/>
          </a:xfrm>
        </p:spPr>
        <p:txBody>
          <a:bodyPr anchor="b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Name Surname</a:t>
            </a:r>
          </a:p>
        </p:txBody>
      </p:sp>
    </p:spTree>
    <p:extLst>
      <p:ext uri="{BB962C8B-B14F-4D97-AF65-F5344CB8AC3E}">
        <p14:creationId xmlns:p14="http://schemas.microsoft.com/office/powerpoint/2010/main" val="109312367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7995" y="188913"/>
            <a:ext cx="11804751" cy="5761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4153033" y="2761657"/>
            <a:ext cx="6694257" cy="615553"/>
          </a:xfrm>
          <a:noFill/>
        </p:spPr>
        <p:txBody>
          <a:bodyPr anchor="ctr"/>
          <a:lstStyle>
            <a:lvl1pPr algn="l">
              <a:defRPr sz="3999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&lt;Thank you!&gt;</a:t>
            </a:r>
          </a:p>
        </p:txBody>
      </p:sp>
      <p:sp>
        <p:nvSpPr>
          <p:cNvPr id="13" name="Rechteck 12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dirty="0">
              <a:solidFill>
                <a:prstClr val="white"/>
              </a:solidFill>
            </a:endParaRPr>
          </a:p>
        </p:txBody>
      </p:sp>
      <p:pic>
        <p:nvPicPr>
          <p:cNvPr id="9" name="Picture 8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24" y="6510889"/>
            <a:ext cx="1529602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8272915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 1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6502403" y="0"/>
            <a:ext cx="5689599" cy="6858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1999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71945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8773098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noProof="0" dirty="0"/>
              <a:t>Slide title (2 lines | max. 1 line with subtitle)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552827" y="1700808"/>
            <a:ext cx="10293319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2855412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2967046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Slide title (2 lines | max. 1 line with subtitle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52307" y="1700808"/>
            <a:ext cx="4967581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</a:t>
            </a:r>
            <a:br>
              <a:rPr lang="en-US" dirty="0"/>
            </a:br>
            <a:r>
              <a:rPr lang="en-US" dirty="0"/>
              <a:t>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5" hasCustomPrompt="1"/>
          </p:nvPr>
        </p:nvSpPr>
        <p:spPr>
          <a:xfrm>
            <a:off x="5880157" y="1700808"/>
            <a:ext cx="4967581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</a:t>
            </a:r>
            <a:br>
              <a:rPr lang="en-US" dirty="0"/>
            </a:br>
            <a:r>
              <a:rPr lang="en-US" dirty="0"/>
              <a:t>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95422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344054840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8188787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Slide title (2 lines | max. 1 line with subtitle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52306" y="1700808"/>
            <a:ext cx="323915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Inhaltsplatzhalter 3"/>
          <p:cNvSpPr>
            <a:spLocks noGrp="1"/>
          </p:cNvSpPr>
          <p:nvPr>
            <p:ph sz="quarter" idx="15" hasCustomPrompt="1"/>
          </p:nvPr>
        </p:nvSpPr>
        <p:spPr>
          <a:xfrm>
            <a:off x="4151820" y="1700808"/>
            <a:ext cx="309640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Inhaltsplatzhalter 3"/>
          <p:cNvSpPr>
            <a:spLocks noGrp="1"/>
          </p:cNvSpPr>
          <p:nvPr>
            <p:ph sz="quarter" idx="16" hasCustomPrompt="1"/>
          </p:nvPr>
        </p:nvSpPr>
        <p:spPr>
          <a:xfrm>
            <a:off x="7608494" y="1700808"/>
            <a:ext cx="323915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5982883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ig text with vign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5769163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4" descr="K:\Mann + Hummel\03_Vorlagen\03_PowerPoint\backup\Vignette_16x32_weiß_2016.01.27.jp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" r="3"/>
          <a:stretch>
            <a:fillRect/>
          </a:stretch>
        </p:blipFill>
        <p:spPr bwMode="gray">
          <a:xfrm>
            <a:off x="193624" y="188914"/>
            <a:ext cx="11805494" cy="5761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platzhalter 9"/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192880" y="188913"/>
            <a:ext cx="11805495" cy="5761038"/>
          </a:xfrm>
        </p:spPr>
        <p:txBody>
          <a:bodyPr lIns="360000" tIns="360000" rIns="360000" bIns="360000" anchor="ctr">
            <a:noAutofit/>
          </a:bodyPr>
          <a:lstStyle>
            <a:lvl1pPr marL="0" algn="ctr">
              <a:spcAft>
                <a:spcPts val="0"/>
              </a:spcAft>
              <a:buFontTx/>
              <a:buNone/>
              <a:defRPr sz="3199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 algn="ctr">
              <a:spcAft>
                <a:spcPts val="0"/>
              </a:spcAft>
              <a:buFontTx/>
              <a:buNone/>
              <a:defRPr sz="3199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0" indent="0" algn="ctr">
              <a:spcBef>
                <a:spcPts val="1799"/>
              </a:spcBef>
              <a:spcAft>
                <a:spcPts val="0"/>
              </a:spcAft>
              <a:buFontTx/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Big Text first line</a:t>
            </a:r>
          </a:p>
          <a:p>
            <a:pPr lvl="1"/>
            <a:r>
              <a:rPr lang="en-US" noProof="0" dirty="0"/>
              <a:t>Big Text second line</a:t>
            </a:r>
          </a:p>
          <a:p>
            <a:pPr lvl="2"/>
            <a:r>
              <a:rPr lang="en-US" noProof="0" dirty="0"/>
              <a:t>Author</a:t>
            </a:r>
          </a:p>
        </p:txBody>
      </p:sp>
    </p:spTree>
    <p:extLst>
      <p:ext uri="{BB962C8B-B14F-4D97-AF65-F5344CB8AC3E}">
        <p14:creationId xmlns:p14="http://schemas.microsoft.com/office/powerpoint/2010/main" val="36710329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7691683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63828445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6276714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8778779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0331535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 dirty="0"/>
              <a:t>Optional subtitle (in max. 1 line)</a:t>
            </a: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552827" y="1700808"/>
            <a:ext cx="10293319" cy="4248000"/>
          </a:xfrm>
        </p:spPr>
        <p:txBody>
          <a:bodyPr lIns="0" tIns="612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/>
              <a:t>Insert a picture he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noProof="0" dirty="0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13703357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317150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92881" y="188641"/>
            <a:ext cx="11806237" cy="6480719"/>
          </a:xfrm>
          <a:solidFill>
            <a:schemeClr val="bg1"/>
          </a:solidFill>
        </p:spPr>
        <p:txBody>
          <a:bodyPr lIns="0" tIns="576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/>
              <a:t>Insert a picture here</a:t>
            </a:r>
          </a:p>
        </p:txBody>
      </p:sp>
    </p:spTree>
    <p:extLst>
      <p:ext uri="{BB962C8B-B14F-4D97-AF65-F5344CB8AC3E}">
        <p14:creationId xmlns:p14="http://schemas.microsoft.com/office/powerpoint/2010/main" val="120556671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421DA7-75F8-4F73-9467-1124CD7F43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543294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4893550"/>
              </p:ext>
            </p:extLst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C2BB840-86FF-41D5-99EA-357DB8EA8F0A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1" y="0"/>
            <a:ext cx="158709" cy="158750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798" b="0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1444905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Optional subtitle (in max. 1 line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Slide title (2 lines | max. 1 line with subtitle)</a:t>
            </a:r>
          </a:p>
        </p:txBody>
      </p:sp>
      <p:sp>
        <p:nvSpPr>
          <p:cNvPr id="5" name="Inhaltsplatzhalter 3">
            <a:extLst>
              <a:ext uri="{FF2B5EF4-FFF2-40B4-BE49-F238E27FC236}">
                <a16:creationId xmlns:a16="http://schemas.microsoft.com/office/drawing/2014/main" id="{D291D967-8385-4256-9333-D0C323001C90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552306" y="1700808"/>
            <a:ext cx="11444905" cy="4248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You can use this field to enter text, a table, </a:t>
            </a:r>
            <a:br>
              <a:rPr lang="en-US"/>
            </a:br>
            <a:r>
              <a:rPr lang="en-US"/>
              <a:t>a diagram or </a:t>
            </a:r>
            <a:r>
              <a:rPr lang="en-US" err="1"/>
              <a:t>SmartArts</a:t>
            </a:r>
            <a:r>
              <a:rPr lang="en-US"/>
              <a:t>. Use the buttons “Increase List Level” for copytext or bullet levels. 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122214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662641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 dirty="0"/>
              <a:t>Optional subtitle (in max. 1 line)</a:t>
            </a: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552827" y="1700808"/>
            <a:ext cx="10293319" cy="4248000"/>
          </a:xfrm>
        </p:spPr>
        <p:txBody>
          <a:bodyPr lIns="0" tIns="612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/>
              <a:t>Insert a picture he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14295283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93624" y="188914"/>
            <a:ext cx="11805494" cy="5761036"/>
          </a:xfrm>
          <a:solidFill>
            <a:srgbClr val="E0E0E0"/>
          </a:solidFill>
        </p:spPr>
        <p:txBody>
          <a:bodyPr lIns="0" tIns="576000" anchor="ctr" anchorCtr="0">
            <a:normAutofit/>
          </a:bodyPr>
          <a:lstStyle>
            <a:lvl1pPr marL="0" marR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Insert a picture here</a:t>
            </a:r>
          </a:p>
        </p:txBody>
      </p:sp>
    </p:spTree>
    <p:extLst>
      <p:ext uri="{BB962C8B-B14F-4D97-AF65-F5344CB8AC3E}">
        <p14:creationId xmlns:p14="http://schemas.microsoft.com/office/powerpoint/2010/main" val="20375302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92881" y="188641"/>
            <a:ext cx="11806237" cy="6480719"/>
          </a:xfrm>
          <a:solidFill>
            <a:schemeClr val="bg1"/>
          </a:solidFill>
        </p:spPr>
        <p:txBody>
          <a:bodyPr lIns="0" tIns="576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/>
              <a:t>Insert a picture here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90166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image" Target="../media/image1.png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552827" y="332657"/>
            <a:ext cx="10293319" cy="43088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dirty="0"/>
              <a:t>Slide title (2 lines | max. 1 line with subtitle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552827" y="1700808"/>
            <a:ext cx="10293319" cy="4248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  <a:endParaRPr lang="en-US" noProof="0" dirty="0"/>
          </a:p>
        </p:txBody>
      </p:sp>
      <p:cxnSp>
        <p:nvCxnSpPr>
          <p:cNvPr id="615" name="Gerade Verbindung 614"/>
          <p:cNvCxnSpPr/>
          <p:nvPr/>
        </p:nvCxnSpPr>
        <p:spPr bwMode="gray">
          <a:xfrm>
            <a:off x="-167057" y="188640"/>
            <a:ext cx="71981" cy="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6" name="Gerade Verbindung 615"/>
          <p:cNvCxnSpPr/>
          <p:nvPr/>
        </p:nvCxnSpPr>
        <p:spPr bwMode="gray">
          <a:xfrm>
            <a:off x="-167073" y="1700808"/>
            <a:ext cx="71981" cy="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7" name="Gerade Verbindung 616"/>
          <p:cNvCxnSpPr/>
          <p:nvPr/>
        </p:nvCxnSpPr>
        <p:spPr bwMode="gray">
          <a:xfrm>
            <a:off x="-167089" y="5949280"/>
            <a:ext cx="71981" cy="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7" name="Gerade Verbindung 656"/>
          <p:cNvCxnSpPr/>
          <p:nvPr/>
        </p:nvCxnSpPr>
        <p:spPr bwMode="gray">
          <a:xfrm>
            <a:off x="192881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8" name="Gerade Verbindung 657"/>
          <p:cNvCxnSpPr/>
          <p:nvPr/>
        </p:nvCxnSpPr>
        <p:spPr bwMode="gray">
          <a:xfrm>
            <a:off x="552827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9" name="Gerade Verbindung 658"/>
          <p:cNvCxnSpPr/>
          <p:nvPr/>
        </p:nvCxnSpPr>
        <p:spPr bwMode="gray">
          <a:xfrm>
            <a:off x="5520085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0" name="Gerade Verbindung 659"/>
          <p:cNvCxnSpPr/>
          <p:nvPr/>
        </p:nvCxnSpPr>
        <p:spPr bwMode="gray">
          <a:xfrm>
            <a:off x="10847290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1" name="Gerade Verbindung 660"/>
          <p:cNvCxnSpPr/>
          <p:nvPr/>
        </p:nvCxnSpPr>
        <p:spPr bwMode="gray">
          <a:xfrm>
            <a:off x="11999118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2" name="Gerade Verbindung 661"/>
          <p:cNvCxnSpPr/>
          <p:nvPr/>
        </p:nvCxnSpPr>
        <p:spPr bwMode="gray">
          <a:xfrm>
            <a:off x="5880032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/>
        </p:nvCxnSpPr>
        <p:spPr bwMode="gray">
          <a:xfrm>
            <a:off x="3792343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/>
        </p:nvCxnSpPr>
        <p:spPr bwMode="gray">
          <a:xfrm>
            <a:off x="4152290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63"/>
          <p:cNvCxnSpPr/>
          <p:nvPr/>
        </p:nvCxnSpPr>
        <p:spPr bwMode="gray">
          <a:xfrm>
            <a:off x="7247828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/>
          <p:nvPr/>
        </p:nvCxnSpPr>
        <p:spPr bwMode="gray">
          <a:xfrm rot="21540000">
            <a:off x="7607146" y="-171394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>
            <a:extLst>
              <a:ext uri="{FF2B5EF4-FFF2-40B4-BE49-F238E27FC236}">
                <a16:creationId xmlns:a16="http://schemas.microsoft.com/office/drawing/2014/main" id="{CBFDA402-7933-4119-B96D-B730F29911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9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457" r="8112" b="25050"/>
          <a:stretch/>
        </p:blipFill>
        <p:spPr>
          <a:xfrm>
            <a:off x="11346869" y="6360060"/>
            <a:ext cx="845131" cy="455212"/>
          </a:xfrm>
          <a:prstGeom prst="rect">
            <a:avLst/>
          </a:prstGeom>
        </p:spPr>
      </p:pic>
      <p:sp>
        <p:nvSpPr>
          <p:cNvPr id="20" name="Rectangle 8">
            <a:extLst>
              <a:ext uri="{FF2B5EF4-FFF2-40B4-BE49-F238E27FC236}">
                <a16:creationId xmlns:a16="http://schemas.microsoft.com/office/drawing/2014/main" id="{F711CB1F-703D-4E48-A876-0380D9B06DF7}"/>
              </a:ext>
            </a:extLst>
          </p:cNvPr>
          <p:cNvSpPr/>
          <p:nvPr userDrawn="1"/>
        </p:nvSpPr>
        <p:spPr>
          <a:xfrm>
            <a:off x="448970" y="188640"/>
            <a:ext cx="3703320" cy="94997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1" name="Rectangle 9">
            <a:extLst>
              <a:ext uri="{FF2B5EF4-FFF2-40B4-BE49-F238E27FC236}">
                <a16:creationId xmlns:a16="http://schemas.microsoft.com/office/drawing/2014/main" id="{BA1FF6A0-80EB-4A7F-9F5C-3FE069CB0732}"/>
              </a:ext>
            </a:extLst>
          </p:cNvPr>
          <p:cNvSpPr/>
          <p:nvPr userDrawn="1"/>
        </p:nvSpPr>
        <p:spPr>
          <a:xfrm>
            <a:off x="8044583" y="185083"/>
            <a:ext cx="3703320" cy="98554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2" name="Rectangle 10">
            <a:extLst>
              <a:ext uri="{FF2B5EF4-FFF2-40B4-BE49-F238E27FC236}">
                <a16:creationId xmlns:a16="http://schemas.microsoft.com/office/drawing/2014/main" id="{A27254D8-479B-495D-857E-0FA0F4DE5ECA}"/>
              </a:ext>
            </a:extLst>
          </p:cNvPr>
          <p:cNvSpPr/>
          <p:nvPr userDrawn="1"/>
        </p:nvSpPr>
        <p:spPr>
          <a:xfrm>
            <a:off x="4244266" y="188640"/>
            <a:ext cx="3703320" cy="9144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1902889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</p:sldLayoutIdLst>
  <p:hf sldNum="0" hdr="0" ftr="0" dt="0"/>
  <p:txStyles>
    <p:titleStyle>
      <a:lvl1pPr algn="l" defTabSz="914126" rtl="0" eaLnBrk="1" latinLnBrk="0" hangingPunct="1">
        <a:spcBef>
          <a:spcPct val="0"/>
        </a:spcBef>
        <a:buNone/>
        <a:defRPr sz="2799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</p:titleStyle>
    <p:bodyStyle>
      <a:lvl1pPr marL="179946" indent="-179946" algn="l" defTabSz="914126" rtl="0" eaLnBrk="1" latinLnBrk="0" hangingPunct="1">
        <a:spcBef>
          <a:spcPts val="0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359892" indent="-179334" algn="l" defTabSz="914126" rtl="0" eaLnBrk="1" latinLnBrk="0" hangingPunct="1">
        <a:spcBef>
          <a:spcPts val="0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539838" indent="-179334" algn="l" defTabSz="914126" rtl="0" eaLnBrk="1" latinLnBrk="0" hangingPunct="1">
        <a:spcBef>
          <a:spcPts val="0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719784" indent="-179334" algn="l" defTabSz="914126" rtl="0" eaLnBrk="1" latinLnBrk="0" hangingPunct="1">
        <a:spcBef>
          <a:spcPts val="0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899730" indent="-179334" algn="l" defTabSz="914126" rtl="0" eaLnBrk="1" latinLnBrk="0" hangingPunct="1">
        <a:spcBef>
          <a:spcPts val="0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899730" indent="-179946" algn="l" defTabSz="914126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899730" indent="-179946" algn="l" defTabSz="914126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899730" indent="-179946" algn="l" defTabSz="914126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899730" indent="-179946" algn="l" defTabSz="914126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image" Target="../media/image10.emf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slideLayout" Target="../slideLayouts/slideLayout11.xml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0" Type="http://schemas.openxmlformats.org/officeDocument/2006/relationships/image" Target="../media/image12.emf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10" Type="http://schemas.openxmlformats.org/officeDocument/2006/relationships/tags" Target="../tags/tag30.xml"/><Relationship Id="rId19" Type="http://schemas.openxmlformats.org/officeDocument/2006/relationships/image" Target="../media/image11.emf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681F6BA2-C156-4AD4-8ECC-3680A9DACB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800" dirty="0">
                <a:latin typeface="Arial"/>
              </a:rPr>
              <a:t>Program </a:t>
            </a:r>
            <a:r>
              <a:rPr lang="en-US" sz="1800">
                <a:latin typeface="Arial"/>
              </a:rPr>
              <a:t>status September  </a:t>
            </a:r>
            <a:r>
              <a:rPr lang="en-US" sz="1800" dirty="0">
                <a:latin typeface="Arial"/>
              </a:rPr>
              <a:t>3</a:t>
            </a:r>
            <a:r>
              <a:rPr lang="en-US" sz="1800" baseline="30000" dirty="0">
                <a:latin typeface="Arial"/>
              </a:rPr>
              <a:t>rd</a:t>
            </a:r>
            <a:r>
              <a:rPr lang="en-US" sz="1800" dirty="0">
                <a:latin typeface="Arial"/>
              </a:rPr>
              <a:t>, 2021</a:t>
            </a:r>
          </a:p>
          <a:p>
            <a:endParaRPr lang="en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DF378E8-2180-41AC-A969-45528CE1B9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gram Status Report</a:t>
            </a:r>
            <a:endParaRPr lang="en-DE" dirty="0"/>
          </a:p>
        </p:txBody>
      </p: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48573F92-A19C-4758-B6D9-C6B92993AC8F}"/>
              </a:ext>
            </a:extLst>
          </p:cNvPr>
          <p:cNvGrpSpPr/>
          <p:nvPr/>
        </p:nvGrpSpPr>
        <p:grpSpPr>
          <a:xfrm>
            <a:off x="10193866" y="360920"/>
            <a:ext cx="1549111" cy="226309"/>
            <a:chOff x="8922780" y="507876"/>
            <a:chExt cx="2255047" cy="255668"/>
          </a:xfrm>
        </p:grpSpPr>
        <p:grpSp>
          <p:nvGrpSpPr>
            <p:cNvPr id="100" name="Gruppieren 99">
              <a:extLst>
                <a:ext uri="{FF2B5EF4-FFF2-40B4-BE49-F238E27FC236}">
                  <a16:creationId xmlns:a16="http://schemas.microsoft.com/office/drawing/2014/main" id="{FC28FFB8-659A-4FD7-B928-1E9DBB905D26}"/>
                </a:ext>
              </a:extLst>
            </p:cNvPr>
            <p:cNvGrpSpPr/>
            <p:nvPr/>
          </p:nvGrpSpPr>
          <p:grpSpPr>
            <a:xfrm>
              <a:off x="8922780" y="507876"/>
              <a:ext cx="1673796" cy="255668"/>
              <a:chOff x="8039131" y="923771"/>
              <a:chExt cx="2791158" cy="247103"/>
            </a:xfrm>
          </p:grpSpPr>
          <p:sp>
            <p:nvSpPr>
              <p:cNvPr id="102" name="Rectangle 27">
                <a:extLst>
                  <a:ext uri="{FF2B5EF4-FFF2-40B4-BE49-F238E27FC236}">
                    <a16:creationId xmlns:a16="http://schemas.microsoft.com/office/drawing/2014/main" id="{B664218A-FF01-4FD7-903E-A13BB8402CCA}"/>
                  </a:ext>
                </a:extLst>
              </p:cNvPr>
              <p:cNvSpPr/>
              <p:nvPr/>
            </p:nvSpPr>
            <p:spPr>
              <a:xfrm>
                <a:off x="8039131" y="923771"/>
                <a:ext cx="872889" cy="247103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7972" tIns="107972" rIns="107972" bIns="107972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</a:t>
                </a:r>
              </a:p>
            </p:txBody>
          </p:sp>
          <p:sp>
            <p:nvSpPr>
              <p:cNvPr id="103" name="Rectangle 27">
                <a:extLst>
                  <a:ext uri="{FF2B5EF4-FFF2-40B4-BE49-F238E27FC236}">
                    <a16:creationId xmlns:a16="http://schemas.microsoft.com/office/drawing/2014/main" id="{A5E0DCB8-96A2-438D-BAE1-10B7A281857C}"/>
                  </a:ext>
                </a:extLst>
              </p:cNvPr>
              <p:cNvSpPr/>
              <p:nvPr/>
            </p:nvSpPr>
            <p:spPr>
              <a:xfrm>
                <a:off x="8988131" y="923771"/>
                <a:ext cx="872889" cy="247103"/>
              </a:xfrm>
              <a:prstGeom prst="rect">
                <a:avLst/>
              </a:prstGeom>
              <a:noFill/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7972" tIns="107972" rIns="107972" bIns="107972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B</a:t>
                </a:r>
              </a:p>
            </p:txBody>
          </p:sp>
          <p:sp>
            <p:nvSpPr>
              <p:cNvPr id="104" name="Rectangle 27">
                <a:extLst>
                  <a:ext uri="{FF2B5EF4-FFF2-40B4-BE49-F238E27FC236}">
                    <a16:creationId xmlns:a16="http://schemas.microsoft.com/office/drawing/2014/main" id="{7F569FBA-DCD5-4839-87C6-508919D8C9DE}"/>
                  </a:ext>
                </a:extLst>
              </p:cNvPr>
              <p:cNvSpPr/>
              <p:nvPr/>
            </p:nvSpPr>
            <p:spPr>
              <a:xfrm>
                <a:off x="9957401" y="923771"/>
                <a:ext cx="872888" cy="247103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7972" tIns="107972" rIns="107972" bIns="107972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</a:t>
                </a:r>
              </a:p>
            </p:txBody>
          </p:sp>
        </p:grpSp>
        <p:sp>
          <p:nvSpPr>
            <p:cNvPr id="101" name="Rectangle 27">
              <a:extLst>
                <a:ext uri="{FF2B5EF4-FFF2-40B4-BE49-F238E27FC236}">
                  <a16:creationId xmlns:a16="http://schemas.microsoft.com/office/drawing/2014/main" id="{C2B09753-F098-4407-965D-9533D1A948D2}"/>
                </a:ext>
              </a:extLst>
            </p:cNvPr>
            <p:cNvSpPr/>
            <p:nvPr/>
          </p:nvSpPr>
          <p:spPr>
            <a:xfrm>
              <a:off x="10654375" y="507876"/>
              <a:ext cx="523452" cy="255668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7972" tIns="107972" rIns="107972" bIns="107972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</a:t>
              </a:r>
            </a:p>
          </p:txBody>
        </p:sp>
      </p:grpSp>
      <p:sp>
        <p:nvSpPr>
          <p:cNvPr id="121" name="Textfeld 120">
            <a:extLst>
              <a:ext uri="{FF2B5EF4-FFF2-40B4-BE49-F238E27FC236}">
                <a16:creationId xmlns:a16="http://schemas.microsoft.com/office/drawing/2014/main" id="{6B19C07B-07D3-4A40-86FA-D3188D7B5882}"/>
              </a:ext>
            </a:extLst>
          </p:cNvPr>
          <p:cNvSpPr txBox="1"/>
          <p:nvPr/>
        </p:nvSpPr>
        <p:spPr>
          <a:xfrm>
            <a:off x="10663012" y="6450372"/>
            <a:ext cx="40556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79946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8800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t Risk</a:t>
            </a:r>
          </a:p>
        </p:txBody>
      </p:sp>
      <p:pic>
        <p:nvPicPr>
          <p:cNvPr id="122" name="Grafik 121">
            <a:extLst>
              <a:ext uri="{FF2B5EF4-FFF2-40B4-BE49-F238E27FC236}">
                <a16:creationId xmlns:a16="http://schemas.microsoft.com/office/drawing/2014/main" id="{CD268A96-331C-4AE6-B90C-CF82B8808814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0153232" y="6448130"/>
            <a:ext cx="467878" cy="155959"/>
          </a:xfrm>
          <a:prstGeom prst="rect">
            <a:avLst/>
          </a:prstGeom>
          <a:solidFill>
            <a:schemeClr val="tx1"/>
          </a:solidFill>
        </p:spPr>
      </p:pic>
      <p:grpSp>
        <p:nvGrpSpPr>
          <p:cNvPr id="124" name="Group 43">
            <a:extLst>
              <a:ext uri="{FF2B5EF4-FFF2-40B4-BE49-F238E27FC236}">
                <a16:creationId xmlns:a16="http://schemas.microsoft.com/office/drawing/2014/main" id="{69B902B3-9B98-4440-90DF-7C9BDC305E4F}"/>
              </a:ext>
            </a:extLst>
          </p:cNvPr>
          <p:cNvGrpSpPr/>
          <p:nvPr/>
        </p:nvGrpSpPr>
        <p:grpSpPr>
          <a:xfrm>
            <a:off x="8773255" y="6442720"/>
            <a:ext cx="1195867" cy="164167"/>
            <a:chOff x="7118965" y="6414722"/>
            <a:chExt cx="1196175" cy="164210"/>
          </a:xfrm>
        </p:grpSpPr>
        <p:sp>
          <p:nvSpPr>
            <p:cNvPr id="125" name="Textfeld 124">
              <a:extLst>
                <a:ext uri="{FF2B5EF4-FFF2-40B4-BE49-F238E27FC236}">
                  <a16:creationId xmlns:a16="http://schemas.microsoft.com/office/drawing/2014/main" id="{945EC9FD-7E4B-43E3-83F9-0CC3CAA7E4C1}"/>
                </a:ext>
              </a:extLst>
            </p:cNvPr>
            <p:cNvSpPr txBox="1"/>
            <p:nvPr/>
          </p:nvSpPr>
          <p:spPr>
            <a:xfrm>
              <a:off x="7628878" y="6419883"/>
              <a:ext cx="686262" cy="15392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179946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F08800"/>
                </a:buClr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ehind Plan</a:t>
              </a:r>
            </a:p>
          </p:txBody>
        </p:sp>
        <p:pic>
          <p:nvPicPr>
            <p:cNvPr id="126" name="Grafik 125">
              <a:extLst>
                <a:ext uri="{FF2B5EF4-FFF2-40B4-BE49-F238E27FC236}">
                  <a16:creationId xmlns:a16="http://schemas.microsoft.com/office/drawing/2014/main" id="{78CE68B5-8E7F-4DBF-85AA-2EB121ACE25F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7118965" y="6414722"/>
              <a:ext cx="468000" cy="164210"/>
            </a:xfrm>
            <a:prstGeom prst="rect">
              <a:avLst/>
            </a:prstGeom>
            <a:solidFill>
              <a:schemeClr val="tx1"/>
            </a:solidFill>
          </p:spPr>
        </p:pic>
      </p:grpSp>
      <p:grpSp>
        <p:nvGrpSpPr>
          <p:cNvPr id="127" name="Group 42">
            <a:extLst>
              <a:ext uri="{FF2B5EF4-FFF2-40B4-BE49-F238E27FC236}">
                <a16:creationId xmlns:a16="http://schemas.microsoft.com/office/drawing/2014/main" id="{09D7B0C4-4C5C-4291-9902-8E17D839442C}"/>
              </a:ext>
            </a:extLst>
          </p:cNvPr>
          <p:cNvGrpSpPr/>
          <p:nvPr/>
        </p:nvGrpSpPr>
        <p:grpSpPr>
          <a:xfrm>
            <a:off x="7639436" y="6450372"/>
            <a:ext cx="905724" cy="155959"/>
            <a:chOff x="7118965" y="6177857"/>
            <a:chExt cx="905958" cy="156000"/>
          </a:xfrm>
        </p:grpSpPr>
        <p:sp>
          <p:nvSpPr>
            <p:cNvPr id="128" name="Textfeld 127">
              <a:extLst>
                <a:ext uri="{FF2B5EF4-FFF2-40B4-BE49-F238E27FC236}">
                  <a16:creationId xmlns:a16="http://schemas.microsoft.com/office/drawing/2014/main" id="{E6727814-52AF-43B6-95DF-61404A3C309F}"/>
                </a:ext>
              </a:extLst>
            </p:cNvPr>
            <p:cNvSpPr txBox="1"/>
            <p:nvPr/>
          </p:nvSpPr>
          <p:spPr>
            <a:xfrm>
              <a:off x="7628879" y="6178913"/>
              <a:ext cx="396044" cy="15392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179946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F08800"/>
                </a:buClr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 Plan</a:t>
              </a:r>
            </a:p>
          </p:txBody>
        </p:sp>
        <p:pic>
          <p:nvPicPr>
            <p:cNvPr id="129" name="Grafik 128">
              <a:extLst>
                <a:ext uri="{FF2B5EF4-FFF2-40B4-BE49-F238E27FC236}">
                  <a16:creationId xmlns:a16="http://schemas.microsoft.com/office/drawing/2014/main" id="{A657E157-4828-4B2E-B36C-108F25925E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7118965" y="6177857"/>
              <a:ext cx="468000" cy="156000"/>
            </a:xfrm>
            <a:prstGeom prst="rect">
              <a:avLst/>
            </a:prstGeom>
            <a:solidFill>
              <a:schemeClr val="tx1"/>
            </a:solidFill>
          </p:spPr>
        </p:pic>
      </p:grpSp>
      <p:graphicFrame>
        <p:nvGraphicFramePr>
          <p:cNvPr id="132" name="Group 47">
            <a:extLst>
              <a:ext uri="{FF2B5EF4-FFF2-40B4-BE49-F238E27FC236}">
                <a16:creationId xmlns:a16="http://schemas.microsoft.com/office/drawing/2014/main" id="{23FD919C-82E5-4263-8723-B910033CEA26}"/>
              </a:ext>
            </a:extLst>
          </p:cNvPr>
          <p:cNvGraphicFramePr>
            <a:graphicFrameLocks noGrp="1"/>
          </p:cNvGraphicFramePr>
          <p:nvPr/>
        </p:nvGraphicFramePr>
        <p:xfrm>
          <a:off x="2942910" y="1185575"/>
          <a:ext cx="3001244" cy="252000"/>
        </p:xfrm>
        <a:graphic>
          <a:graphicData uri="http://schemas.openxmlformats.org/drawingml/2006/table">
            <a:tbl>
              <a:tblPr bandRow="1"/>
              <a:tblGrid>
                <a:gridCol w="30012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52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65000"/>
                        <a:buFont typeface="Monotype Sorts"/>
                        <a:buNone/>
                        <a:tabLst/>
                      </a:pPr>
                      <a:r>
                        <a:rPr kumimoji="0" lang="de-DE" sz="9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ヒラギノ角ゴ ProN W6"/>
                          <a:cs typeface="ヒラギノ角ゴ ProN W6"/>
                          <a:sym typeface="Arial" pitchFamily="34" charset="0"/>
                        </a:rPr>
                        <a:t>Project status &amp; activities</a:t>
                      </a:r>
                    </a:p>
                  </a:txBody>
                  <a:tcPr marL="68580" marR="68580" marT="36003" marB="36003" anchor="ctr" horzOverflow="overflow">
                    <a:lnL w="317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33" name="Rectangle 110">
            <a:extLst>
              <a:ext uri="{FF2B5EF4-FFF2-40B4-BE49-F238E27FC236}">
                <a16:creationId xmlns:a16="http://schemas.microsoft.com/office/drawing/2014/main" id="{882FA8D3-1E3B-4636-BC5F-A4312098B85E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42587" y="1524558"/>
            <a:ext cx="3001567" cy="532800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>
                <a:lumMod val="75000"/>
              </a:srgbClr>
            </a:solidFill>
            <a:miter lim="800000"/>
            <a:headEnd/>
            <a:tailEnd/>
          </a:ln>
        </p:spPr>
        <p:txBody>
          <a:bodyPr lIns="88615" tIns="36000" rIns="36000" bIns="36000" numCol="1" anchor="ctr"/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207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Current activities</a:t>
            </a:r>
          </a:p>
          <a:p>
            <a:pPr marL="207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Next steps</a:t>
            </a:r>
            <a:endParaRPr kumimoji="0" lang="de-DE" altLang="en-US" sz="10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4" name="Rectangle 18">
            <a:extLst>
              <a:ext uri="{FF2B5EF4-FFF2-40B4-BE49-F238E27FC236}">
                <a16:creationId xmlns:a16="http://schemas.microsoft.com/office/drawing/2014/main" id="{0CB67B69-95CC-4EB3-803D-024EA2FD7AE3}"/>
              </a:ext>
            </a:extLst>
          </p:cNvPr>
          <p:cNvSpPr/>
          <p:nvPr/>
        </p:nvSpPr>
        <p:spPr>
          <a:xfrm>
            <a:off x="567062" y="1525684"/>
            <a:ext cx="1348333" cy="532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88615" tIns="44308" rIns="44308" bIns="443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1786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Project 1</a:t>
            </a:r>
          </a:p>
        </p:txBody>
      </p:sp>
      <p:sp>
        <p:nvSpPr>
          <p:cNvPr id="138" name="Rectangle 31">
            <a:extLst>
              <a:ext uri="{FF2B5EF4-FFF2-40B4-BE49-F238E27FC236}">
                <a16:creationId xmlns:a16="http://schemas.microsoft.com/office/drawing/2014/main" id="{84B76D77-2AD7-4F9C-9B67-7D0B03554B9A}"/>
              </a:ext>
            </a:extLst>
          </p:cNvPr>
          <p:cNvSpPr/>
          <p:nvPr/>
        </p:nvSpPr>
        <p:spPr>
          <a:xfrm>
            <a:off x="567062" y="2106352"/>
            <a:ext cx="1348333" cy="532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88615" tIns="44308" rIns="44308" bIns="443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1786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Project 2</a:t>
            </a:r>
          </a:p>
        </p:txBody>
      </p:sp>
      <p:sp>
        <p:nvSpPr>
          <p:cNvPr id="142" name="Rectangle 44">
            <a:extLst>
              <a:ext uri="{FF2B5EF4-FFF2-40B4-BE49-F238E27FC236}">
                <a16:creationId xmlns:a16="http://schemas.microsoft.com/office/drawing/2014/main" id="{B5A13FDE-D7C6-4DC2-B395-B445429FC896}"/>
              </a:ext>
            </a:extLst>
          </p:cNvPr>
          <p:cNvSpPr/>
          <p:nvPr/>
        </p:nvSpPr>
        <p:spPr>
          <a:xfrm>
            <a:off x="567062" y="2687020"/>
            <a:ext cx="1348333" cy="532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88615" tIns="44308" rIns="44308" bIns="443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1786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Project 3</a:t>
            </a:r>
          </a:p>
        </p:txBody>
      </p:sp>
      <p:sp>
        <p:nvSpPr>
          <p:cNvPr id="146" name="Rectangle 57">
            <a:extLst>
              <a:ext uri="{FF2B5EF4-FFF2-40B4-BE49-F238E27FC236}">
                <a16:creationId xmlns:a16="http://schemas.microsoft.com/office/drawing/2014/main" id="{B5DED95D-8134-4B85-953F-3A306CFAF424}"/>
              </a:ext>
            </a:extLst>
          </p:cNvPr>
          <p:cNvSpPr/>
          <p:nvPr/>
        </p:nvSpPr>
        <p:spPr>
          <a:xfrm>
            <a:off x="567062" y="3848356"/>
            <a:ext cx="1348333" cy="532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88615" tIns="44308" rIns="44308" bIns="443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1786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Project 5</a:t>
            </a:r>
          </a:p>
        </p:txBody>
      </p:sp>
      <p:sp>
        <p:nvSpPr>
          <p:cNvPr id="150" name="Rectangle 83">
            <a:extLst>
              <a:ext uri="{FF2B5EF4-FFF2-40B4-BE49-F238E27FC236}">
                <a16:creationId xmlns:a16="http://schemas.microsoft.com/office/drawing/2014/main" id="{96B2B082-8D48-4241-B6DF-9AB0984C53FB}"/>
              </a:ext>
            </a:extLst>
          </p:cNvPr>
          <p:cNvSpPr/>
          <p:nvPr/>
        </p:nvSpPr>
        <p:spPr>
          <a:xfrm>
            <a:off x="567062" y="4429024"/>
            <a:ext cx="1348333" cy="532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88615" tIns="44308" rIns="44308" bIns="443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1786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Project 6</a:t>
            </a:r>
          </a:p>
        </p:txBody>
      </p:sp>
      <p:sp>
        <p:nvSpPr>
          <p:cNvPr id="154" name="Rectangle 96">
            <a:extLst>
              <a:ext uri="{FF2B5EF4-FFF2-40B4-BE49-F238E27FC236}">
                <a16:creationId xmlns:a16="http://schemas.microsoft.com/office/drawing/2014/main" id="{427FD381-9F9E-4002-8D60-68C7633E74D6}"/>
              </a:ext>
            </a:extLst>
          </p:cNvPr>
          <p:cNvSpPr/>
          <p:nvPr/>
        </p:nvSpPr>
        <p:spPr>
          <a:xfrm>
            <a:off x="554096" y="5009692"/>
            <a:ext cx="1348333" cy="532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88615" tIns="44308" rIns="44308" bIns="443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1786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Project 7</a:t>
            </a:r>
          </a:p>
        </p:txBody>
      </p:sp>
      <p:sp>
        <p:nvSpPr>
          <p:cNvPr id="165" name="Rectangle 154">
            <a:extLst>
              <a:ext uri="{FF2B5EF4-FFF2-40B4-BE49-F238E27FC236}">
                <a16:creationId xmlns:a16="http://schemas.microsoft.com/office/drawing/2014/main" id="{37FC7725-29C0-48A3-8931-3C047F35B1D1}"/>
              </a:ext>
            </a:extLst>
          </p:cNvPr>
          <p:cNvSpPr/>
          <p:nvPr/>
        </p:nvSpPr>
        <p:spPr>
          <a:xfrm>
            <a:off x="567062" y="5590359"/>
            <a:ext cx="1348333" cy="532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88615" tIns="44308" rIns="44308" bIns="443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1786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Project 8</a:t>
            </a:r>
          </a:p>
        </p:txBody>
      </p:sp>
      <p:sp>
        <p:nvSpPr>
          <p:cNvPr id="169" name="Rectangle 167">
            <a:extLst>
              <a:ext uri="{FF2B5EF4-FFF2-40B4-BE49-F238E27FC236}">
                <a16:creationId xmlns:a16="http://schemas.microsoft.com/office/drawing/2014/main" id="{E3238DF5-4522-4018-ABB0-56B1051704B2}"/>
              </a:ext>
            </a:extLst>
          </p:cNvPr>
          <p:cNvSpPr/>
          <p:nvPr/>
        </p:nvSpPr>
        <p:spPr>
          <a:xfrm>
            <a:off x="567062" y="3267688"/>
            <a:ext cx="1348333" cy="532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88615" tIns="44308" rIns="44308" bIns="443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1786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Project 4</a:t>
            </a:r>
          </a:p>
        </p:txBody>
      </p:sp>
      <p:pic>
        <p:nvPicPr>
          <p:cNvPr id="282" name="Grafik 281">
            <a:extLst>
              <a:ext uri="{FF2B5EF4-FFF2-40B4-BE49-F238E27FC236}">
                <a16:creationId xmlns:a16="http://schemas.microsoft.com/office/drawing/2014/main" id="{0A17C6C2-4F88-429F-BDE7-7DEA838E098D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 rot="5400000">
            <a:off x="1847255" y="1691600"/>
            <a:ext cx="467879" cy="155959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pic>
        <p:nvPicPr>
          <p:cNvPr id="283" name="Grafik 282">
            <a:extLst>
              <a:ext uri="{FF2B5EF4-FFF2-40B4-BE49-F238E27FC236}">
                <a16:creationId xmlns:a16="http://schemas.microsoft.com/office/drawing/2014/main" id="{E79C1A37-0940-492F-977A-64BB506FD0D0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 rot="16200000">
            <a:off x="2169303" y="1687496"/>
            <a:ext cx="467879" cy="164167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pic>
        <p:nvPicPr>
          <p:cNvPr id="284" name="Grafik 283">
            <a:extLst>
              <a:ext uri="{FF2B5EF4-FFF2-40B4-BE49-F238E27FC236}">
                <a16:creationId xmlns:a16="http://schemas.microsoft.com/office/drawing/2014/main" id="{293945CE-2161-4E32-9CD6-B28F66AAC0BA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 rot="5400000">
            <a:off x="2501462" y="1691600"/>
            <a:ext cx="467878" cy="155959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sp>
        <p:nvSpPr>
          <p:cNvPr id="287" name="Rechteck 286">
            <a:extLst>
              <a:ext uri="{FF2B5EF4-FFF2-40B4-BE49-F238E27FC236}">
                <a16:creationId xmlns:a16="http://schemas.microsoft.com/office/drawing/2014/main" id="{029F0969-D9E8-4D97-9304-8CD09481594A}"/>
              </a:ext>
            </a:extLst>
          </p:cNvPr>
          <p:cNvSpPr/>
          <p:nvPr/>
        </p:nvSpPr>
        <p:spPr bwMode="gray">
          <a:xfrm>
            <a:off x="2280937" y="1185575"/>
            <a:ext cx="252000" cy="252000"/>
          </a:xfrm>
          <a:prstGeom prst="rect">
            <a:avLst/>
          </a:prstGeom>
          <a:solidFill>
            <a:srgbClr val="00732D"/>
          </a:solidFill>
          <a:ln w="3175">
            <a:solidFill>
              <a:srgbClr val="0073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€</a:t>
            </a:r>
            <a:endParaRPr kumimoji="0" lang="en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8" name="Rechteck 287">
            <a:extLst>
              <a:ext uri="{FF2B5EF4-FFF2-40B4-BE49-F238E27FC236}">
                <a16:creationId xmlns:a16="http://schemas.microsoft.com/office/drawing/2014/main" id="{969EEBC6-9A85-497C-90A2-A985C88FC43F}"/>
              </a:ext>
            </a:extLst>
          </p:cNvPr>
          <p:cNvSpPr/>
          <p:nvPr/>
        </p:nvSpPr>
        <p:spPr bwMode="gray">
          <a:xfrm>
            <a:off x="2611792" y="1185575"/>
            <a:ext cx="252000" cy="252000"/>
          </a:xfrm>
          <a:prstGeom prst="rect">
            <a:avLst/>
          </a:prstGeom>
          <a:solidFill>
            <a:srgbClr val="00732D"/>
          </a:solidFill>
          <a:ln w="3175">
            <a:solidFill>
              <a:srgbClr val="0073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C63EB15C-7D2E-47E1-8CA8-7DBE68CD40FD}"/>
              </a:ext>
            </a:extLst>
          </p:cNvPr>
          <p:cNvSpPr/>
          <p:nvPr/>
        </p:nvSpPr>
        <p:spPr bwMode="gray">
          <a:xfrm>
            <a:off x="1955396" y="1185575"/>
            <a:ext cx="252000" cy="252000"/>
          </a:xfrm>
          <a:prstGeom prst="rect">
            <a:avLst/>
          </a:prstGeom>
          <a:solidFill>
            <a:srgbClr val="00732D"/>
          </a:solidFill>
          <a:ln w="3175">
            <a:solidFill>
              <a:srgbClr val="0073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</a:t>
            </a:r>
            <a:endParaRPr kumimoji="0" lang="en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1" name="Rechteck 290">
            <a:extLst>
              <a:ext uri="{FF2B5EF4-FFF2-40B4-BE49-F238E27FC236}">
                <a16:creationId xmlns:a16="http://schemas.microsoft.com/office/drawing/2014/main" id="{0B903F37-A841-436B-A736-6A5C2309D1E5}"/>
              </a:ext>
            </a:extLst>
          </p:cNvPr>
          <p:cNvSpPr/>
          <p:nvPr/>
        </p:nvSpPr>
        <p:spPr bwMode="gray">
          <a:xfrm>
            <a:off x="567063" y="1185575"/>
            <a:ext cx="1350118" cy="252000"/>
          </a:xfrm>
          <a:prstGeom prst="rect">
            <a:avLst/>
          </a:prstGeom>
          <a:solidFill>
            <a:srgbClr val="00206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b Projects</a:t>
            </a:r>
            <a:endParaRPr kumimoji="0" lang="en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92" name="Google Shape;4015;p13">
            <a:extLst>
              <a:ext uri="{FF2B5EF4-FFF2-40B4-BE49-F238E27FC236}">
                <a16:creationId xmlns:a16="http://schemas.microsoft.com/office/drawing/2014/main" id="{92D0B7B2-1708-49BB-B562-DFE940EB2440}"/>
              </a:ext>
            </a:extLst>
          </p:cNvPr>
          <p:cNvGrpSpPr/>
          <p:nvPr/>
        </p:nvGrpSpPr>
        <p:grpSpPr>
          <a:xfrm>
            <a:off x="2647118" y="1216055"/>
            <a:ext cx="187011" cy="186053"/>
            <a:chOff x="6367" y="2707"/>
            <a:chExt cx="735" cy="735"/>
          </a:xfrm>
          <a:solidFill>
            <a:sysClr val="window" lastClr="FFFFFF"/>
          </a:solidFill>
        </p:grpSpPr>
        <p:sp>
          <p:nvSpPr>
            <p:cNvPr id="293" name="Google Shape;4016;p13">
              <a:extLst>
                <a:ext uri="{FF2B5EF4-FFF2-40B4-BE49-F238E27FC236}">
                  <a16:creationId xmlns:a16="http://schemas.microsoft.com/office/drawing/2014/main" id="{879B26B0-E0FF-40FA-BD33-444039BF6536}"/>
                </a:ext>
              </a:extLst>
            </p:cNvPr>
            <p:cNvSpPr/>
            <p:nvPr/>
          </p:nvSpPr>
          <p:spPr>
            <a:xfrm>
              <a:off x="6367" y="2707"/>
              <a:ext cx="735" cy="735"/>
            </a:xfrm>
            <a:custGeom>
              <a:avLst/>
              <a:gdLst/>
              <a:ahLst/>
              <a:cxnLst/>
              <a:rect l="l" t="t" r="r" b="b"/>
              <a:pathLst>
                <a:path w="8267" h="8267" extrusionOk="0">
                  <a:moveTo>
                    <a:pt x="8133" y="3733"/>
                  </a:moveTo>
                  <a:lnTo>
                    <a:pt x="7845" y="3733"/>
                  </a:lnTo>
                  <a:cubicBezTo>
                    <a:pt x="7655" y="1989"/>
                    <a:pt x="6277" y="612"/>
                    <a:pt x="4533" y="421"/>
                  </a:cubicBezTo>
                  <a:lnTo>
                    <a:pt x="4533" y="133"/>
                  </a:lnTo>
                  <a:cubicBezTo>
                    <a:pt x="4533" y="60"/>
                    <a:pt x="4474" y="0"/>
                    <a:pt x="4400" y="0"/>
                  </a:cubicBezTo>
                  <a:lnTo>
                    <a:pt x="3867" y="0"/>
                  </a:lnTo>
                  <a:cubicBezTo>
                    <a:pt x="3793" y="0"/>
                    <a:pt x="3733" y="60"/>
                    <a:pt x="3733" y="133"/>
                  </a:cubicBezTo>
                  <a:lnTo>
                    <a:pt x="3733" y="421"/>
                  </a:lnTo>
                  <a:cubicBezTo>
                    <a:pt x="1989" y="612"/>
                    <a:pt x="612" y="1989"/>
                    <a:pt x="421" y="3733"/>
                  </a:cubicBezTo>
                  <a:lnTo>
                    <a:pt x="133" y="3733"/>
                  </a:lnTo>
                  <a:cubicBezTo>
                    <a:pt x="60" y="3733"/>
                    <a:pt x="0" y="3793"/>
                    <a:pt x="0" y="3867"/>
                  </a:cubicBezTo>
                  <a:lnTo>
                    <a:pt x="0" y="4400"/>
                  </a:lnTo>
                  <a:cubicBezTo>
                    <a:pt x="0" y="4474"/>
                    <a:pt x="60" y="4533"/>
                    <a:pt x="133" y="4533"/>
                  </a:cubicBezTo>
                  <a:lnTo>
                    <a:pt x="421" y="4533"/>
                  </a:lnTo>
                  <a:cubicBezTo>
                    <a:pt x="612" y="6277"/>
                    <a:pt x="1989" y="7655"/>
                    <a:pt x="3733" y="7845"/>
                  </a:cubicBezTo>
                  <a:lnTo>
                    <a:pt x="3733" y="8133"/>
                  </a:lnTo>
                  <a:cubicBezTo>
                    <a:pt x="3733" y="8207"/>
                    <a:pt x="3793" y="8267"/>
                    <a:pt x="3867" y="8267"/>
                  </a:cubicBezTo>
                  <a:lnTo>
                    <a:pt x="4400" y="8267"/>
                  </a:lnTo>
                  <a:cubicBezTo>
                    <a:pt x="4474" y="8267"/>
                    <a:pt x="4533" y="8207"/>
                    <a:pt x="4533" y="8133"/>
                  </a:cubicBezTo>
                  <a:lnTo>
                    <a:pt x="4533" y="7845"/>
                  </a:lnTo>
                  <a:cubicBezTo>
                    <a:pt x="6277" y="7655"/>
                    <a:pt x="7655" y="6277"/>
                    <a:pt x="7845" y="4533"/>
                  </a:cubicBezTo>
                  <a:lnTo>
                    <a:pt x="8133" y="4533"/>
                  </a:lnTo>
                  <a:cubicBezTo>
                    <a:pt x="8207" y="4533"/>
                    <a:pt x="8267" y="4474"/>
                    <a:pt x="8267" y="4400"/>
                  </a:cubicBezTo>
                  <a:lnTo>
                    <a:pt x="8267" y="3867"/>
                  </a:lnTo>
                  <a:cubicBezTo>
                    <a:pt x="8267" y="3793"/>
                    <a:pt x="8207" y="3733"/>
                    <a:pt x="8133" y="3733"/>
                  </a:cubicBezTo>
                  <a:close/>
                  <a:moveTo>
                    <a:pt x="4000" y="267"/>
                  </a:moveTo>
                  <a:lnTo>
                    <a:pt x="4267" y="267"/>
                  </a:lnTo>
                  <a:lnTo>
                    <a:pt x="4267" y="800"/>
                  </a:lnTo>
                  <a:lnTo>
                    <a:pt x="4000" y="800"/>
                  </a:lnTo>
                  <a:lnTo>
                    <a:pt x="4000" y="267"/>
                  </a:lnTo>
                  <a:close/>
                  <a:moveTo>
                    <a:pt x="267" y="4267"/>
                  </a:moveTo>
                  <a:lnTo>
                    <a:pt x="267" y="4000"/>
                  </a:lnTo>
                  <a:lnTo>
                    <a:pt x="800" y="4000"/>
                  </a:lnTo>
                  <a:lnTo>
                    <a:pt x="800" y="4267"/>
                  </a:lnTo>
                  <a:lnTo>
                    <a:pt x="267" y="4267"/>
                  </a:lnTo>
                  <a:close/>
                  <a:moveTo>
                    <a:pt x="4267" y="8000"/>
                  </a:moveTo>
                  <a:lnTo>
                    <a:pt x="4000" y="8000"/>
                  </a:lnTo>
                  <a:lnTo>
                    <a:pt x="4000" y="7467"/>
                  </a:lnTo>
                  <a:lnTo>
                    <a:pt x="4267" y="7467"/>
                  </a:lnTo>
                  <a:lnTo>
                    <a:pt x="4267" y="8000"/>
                  </a:lnTo>
                  <a:close/>
                  <a:moveTo>
                    <a:pt x="4533" y="7577"/>
                  </a:moveTo>
                  <a:lnTo>
                    <a:pt x="4533" y="7333"/>
                  </a:lnTo>
                  <a:cubicBezTo>
                    <a:pt x="4533" y="7260"/>
                    <a:pt x="4474" y="7200"/>
                    <a:pt x="4400" y="7200"/>
                  </a:cubicBezTo>
                  <a:lnTo>
                    <a:pt x="3867" y="7200"/>
                  </a:lnTo>
                  <a:cubicBezTo>
                    <a:pt x="3793" y="7200"/>
                    <a:pt x="3733" y="7260"/>
                    <a:pt x="3733" y="7333"/>
                  </a:cubicBezTo>
                  <a:lnTo>
                    <a:pt x="3733" y="7577"/>
                  </a:lnTo>
                  <a:cubicBezTo>
                    <a:pt x="2136" y="7390"/>
                    <a:pt x="877" y="6130"/>
                    <a:pt x="689" y="4533"/>
                  </a:cubicBezTo>
                  <a:lnTo>
                    <a:pt x="933" y="4533"/>
                  </a:lnTo>
                  <a:cubicBezTo>
                    <a:pt x="1007" y="4533"/>
                    <a:pt x="1067" y="4474"/>
                    <a:pt x="1067" y="4400"/>
                  </a:cubicBezTo>
                  <a:lnTo>
                    <a:pt x="1067" y="3867"/>
                  </a:lnTo>
                  <a:cubicBezTo>
                    <a:pt x="1067" y="3793"/>
                    <a:pt x="1007" y="3733"/>
                    <a:pt x="933" y="3733"/>
                  </a:cubicBezTo>
                  <a:lnTo>
                    <a:pt x="689" y="3733"/>
                  </a:lnTo>
                  <a:cubicBezTo>
                    <a:pt x="877" y="2136"/>
                    <a:pt x="2136" y="877"/>
                    <a:pt x="3733" y="689"/>
                  </a:cubicBezTo>
                  <a:lnTo>
                    <a:pt x="3733" y="933"/>
                  </a:lnTo>
                  <a:cubicBezTo>
                    <a:pt x="3733" y="1007"/>
                    <a:pt x="3793" y="1067"/>
                    <a:pt x="3867" y="1067"/>
                  </a:cubicBezTo>
                  <a:lnTo>
                    <a:pt x="4400" y="1067"/>
                  </a:lnTo>
                  <a:cubicBezTo>
                    <a:pt x="4474" y="1067"/>
                    <a:pt x="4533" y="1007"/>
                    <a:pt x="4533" y="933"/>
                  </a:cubicBezTo>
                  <a:lnTo>
                    <a:pt x="4533" y="689"/>
                  </a:lnTo>
                  <a:cubicBezTo>
                    <a:pt x="6130" y="877"/>
                    <a:pt x="7390" y="2136"/>
                    <a:pt x="7577" y="3733"/>
                  </a:cubicBezTo>
                  <a:lnTo>
                    <a:pt x="7333" y="3733"/>
                  </a:lnTo>
                  <a:cubicBezTo>
                    <a:pt x="7260" y="3733"/>
                    <a:pt x="7200" y="3793"/>
                    <a:pt x="7200" y="3867"/>
                  </a:cubicBezTo>
                  <a:lnTo>
                    <a:pt x="7200" y="4400"/>
                  </a:lnTo>
                  <a:cubicBezTo>
                    <a:pt x="7200" y="4474"/>
                    <a:pt x="7260" y="4533"/>
                    <a:pt x="7333" y="4533"/>
                  </a:cubicBezTo>
                  <a:lnTo>
                    <a:pt x="7577" y="4533"/>
                  </a:lnTo>
                  <a:cubicBezTo>
                    <a:pt x="7390" y="6130"/>
                    <a:pt x="6130" y="7390"/>
                    <a:pt x="4533" y="7577"/>
                  </a:cubicBezTo>
                  <a:close/>
                  <a:moveTo>
                    <a:pt x="8000" y="4267"/>
                  </a:moveTo>
                  <a:lnTo>
                    <a:pt x="7467" y="4267"/>
                  </a:lnTo>
                  <a:lnTo>
                    <a:pt x="7467" y="4000"/>
                  </a:lnTo>
                  <a:lnTo>
                    <a:pt x="8000" y="4000"/>
                  </a:lnTo>
                  <a:lnTo>
                    <a:pt x="8000" y="4267"/>
                  </a:lnTo>
                  <a:close/>
                  <a:moveTo>
                    <a:pt x="8000" y="4267"/>
                  </a:move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4" name="Google Shape;4017;p13">
              <a:extLst>
                <a:ext uri="{FF2B5EF4-FFF2-40B4-BE49-F238E27FC236}">
                  <a16:creationId xmlns:a16="http://schemas.microsoft.com/office/drawing/2014/main" id="{A425C7C8-9ECD-4208-869C-77826039089B}"/>
                </a:ext>
              </a:extLst>
            </p:cNvPr>
            <p:cNvSpPr/>
            <p:nvPr/>
          </p:nvSpPr>
          <p:spPr>
            <a:xfrm>
              <a:off x="6675" y="3015"/>
              <a:ext cx="119" cy="119"/>
            </a:xfrm>
            <a:custGeom>
              <a:avLst/>
              <a:gdLst/>
              <a:ahLst/>
              <a:cxnLst/>
              <a:rect l="l" t="t" r="r" b="b"/>
              <a:pathLst>
                <a:path w="1333" h="1333" extrusionOk="0">
                  <a:moveTo>
                    <a:pt x="666" y="0"/>
                  </a:moveTo>
                  <a:cubicBezTo>
                    <a:pt x="298" y="0"/>
                    <a:pt x="0" y="298"/>
                    <a:pt x="0" y="666"/>
                  </a:cubicBezTo>
                  <a:cubicBezTo>
                    <a:pt x="0" y="1034"/>
                    <a:pt x="298" y="1333"/>
                    <a:pt x="666" y="1333"/>
                  </a:cubicBezTo>
                  <a:cubicBezTo>
                    <a:pt x="1034" y="1333"/>
                    <a:pt x="1333" y="1034"/>
                    <a:pt x="1333" y="666"/>
                  </a:cubicBezTo>
                  <a:cubicBezTo>
                    <a:pt x="1333" y="298"/>
                    <a:pt x="1034" y="0"/>
                    <a:pt x="666" y="0"/>
                  </a:cubicBezTo>
                  <a:close/>
                  <a:moveTo>
                    <a:pt x="666" y="1066"/>
                  </a:moveTo>
                  <a:cubicBezTo>
                    <a:pt x="445" y="1066"/>
                    <a:pt x="266" y="887"/>
                    <a:pt x="266" y="666"/>
                  </a:cubicBezTo>
                  <a:cubicBezTo>
                    <a:pt x="266" y="445"/>
                    <a:pt x="445" y="266"/>
                    <a:pt x="666" y="266"/>
                  </a:cubicBezTo>
                  <a:cubicBezTo>
                    <a:pt x="887" y="266"/>
                    <a:pt x="1066" y="445"/>
                    <a:pt x="1066" y="666"/>
                  </a:cubicBezTo>
                  <a:cubicBezTo>
                    <a:pt x="1066" y="887"/>
                    <a:pt x="887" y="1066"/>
                    <a:pt x="666" y="1066"/>
                  </a:cubicBezTo>
                  <a:close/>
                  <a:moveTo>
                    <a:pt x="666" y="1066"/>
                  </a:move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5" name="Google Shape;4018;p13">
              <a:extLst>
                <a:ext uri="{FF2B5EF4-FFF2-40B4-BE49-F238E27FC236}">
                  <a16:creationId xmlns:a16="http://schemas.microsoft.com/office/drawing/2014/main" id="{36350391-4435-486E-8440-E98DC58D9FCB}"/>
                </a:ext>
              </a:extLst>
            </p:cNvPr>
            <p:cNvSpPr/>
            <p:nvPr/>
          </p:nvSpPr>
          <p:spPr>
            <a:xfrm>
              <a:off x="6521" y="2861"/>
              <a:ext cx="427" cy="427"/>
            </a:xfrm>
            <a:custGeom>
              <a:avLst/>
              <a:gdLst/>
              <a:ahLst/>
              <a:cxnLst/>
              <a:rect l="l" t="t" r="r" b="b"/>
              <a:pathLst>
                <a:path w="4800" h="4800" extrusionOk="0">
                  <a:moveTo>
                    <a:pt x="4667" y="2267"/>
                  </a:moveTo>
                  <a:lnTo>
                    <a:pt x="4395" y="2267"/>
                  </a:lnTo>
                  <a:cubicBezTo>
                    <a:pt x="4328" y="1268"/>
                    <a:pt x="3532" y="473"/>
                    <a:pt x="2534" y="406"/>
                  </a:cubicBezTo>
                  <a:lnTo>
                    <a:pt x="2534" y="134"/>
                  </a:lnTo>
                  <a:cubicBezTo>
                    <a:pt x="2534" y="60"/>
                    <a:pt x="2474" y="0"/>
                    <a:pt x="2400" y="0"/>
                  </a:cubicBezTo>
                  <a:cubicBezTo>
                    <a:pt x="2327" y="0"/>
                    <a:pt x="2267" y="60"/>
                    <a:pt x="2267" y="134"/>
                  </a:cubicBezTo>
                  <a:lnTo>
                    <a:pt x="2267" y="406"/>
                  </a:lnTo>
                  <a:cubicBezTo>
                    <a:pt x="1268" y="473"/>
                    <a:pt x="473" y="1268"/>
                    <a:pt x="406" y="2267"/>
                  </a:cubicBezTo>
                  <a:lnTo>
                    <a:pt x="134" y="2267"/>
                  </a:lnTo>
                  <a:cubicBezTo>
                    <a:pt x="60" y="2267"/>
                    <a:pt x="0" y="2327"/>
                    <a:pt x="0" y="2400"/>
                  </a:cubicBezTo>
                  <a:cubicBezTo>
                    <a:pt x="0" y="2474"/>
                    <a:pt x="60" y="2534"/>
                    <a:pt x="134" y="2534"/>
                  </a:cubicBezTo>
                  <a:lnTo>
                    <a:pt x="406" y="2534"/>
                  </a:lnTo>
                  <a:cubicBezTo>
                    <a:pt x="473" y="3532"/>
                    <a:pt x="1268" y="4328"/>
                    <a:pt x="2267" y="4395"/>
                  </a:cubicBezTo>
                  <a:lnTo>
                    <a:pt x="2267" y="4667"/>
                  </a:lnTo>
                  <a:cubicBezTo>
                    <a:pt x="2267" y="4741"/>
                    <a:pt x="2327" y="4800"/>
                    <a:pt x="2400" y="4800"/>
                  </a:cubicBezTo>
                  <a:cubicBezTo>
                    <a:pt x="2474" y="4800"/>
                    <a:pt x="2534" y="4741"/>
                    <a:pt x="2534" y="4667"/>
                  </a:cubicBezTo>
                  <a:lnTo>
                    <a:pt x="2534" y="4395"/>
                  </a:lnTo>
                  <a:cubicBezTo>
                    <a:pt x="3532" y="4328"/>
                    <a:pt x="4328" y="3532"/>
                    <a:pt x="4395" y="2534"/>
                  </a:cubicBezTo>
                  <a:lnTo>
                    <a:pt x="4667" y="2534"/>
                  </a:lnTo>
                  <a:cubicBezTo>
                    <a:pt x="4741" y="2534"/>
                    <a:pt x="4800" y="2474"/>
                    <a:pt x="4800" y="2400"/>
                  </a:cubicBezTo>
                  <a:cubicBezTo>
                    <a:pt x="4800" y="2327"/>
                    <a:pt x="4741" y="2267"/>
                    <a:pt x="4667" y="2267"/>
                  </a:cubicBezTo>
                  <a:close/>
                  <a:moveTo>
                    <a:pt x="2534" y="4128"/>
                  </a:moveTo>
                  <a:lnTo>
                    <a:pt x="2534" y="3867"/>
                  </a:lnTo>
                  <a:cubicBezTo>
                    <a:pt x="2534" y="3793"/>
                    <a:pt x="2474" y="3734"/>
                    <a:pt x="2400" y="3734"/>
                  </a:cubicBezTo>
                  <a:cubicBezTo>
                    <a:pt x="2327" y="3734"/>
                    <a:pt x="2267" y="3793"/>
                    <a:pt x="2267" y="3867"/>
                  </a:cubicBezTo>
                  <a:lnTo>
                    <a:pt x="2267" y="4128"/>
                  </a:lnTo>
                  <a:cubicBezTo>
                    <a:pt x="1415" y="4062"/>
                    <a:pt x="739" y="3385"/>
                    <a:pt x="674" y="2534"/>
                  </a:cubicBezTo>
                  <a:lnTo>
                    <a:pt x="934" y="2534"/>
                  </a:lnTo>
                  <a:cubicBezTo>
                    <a:pt x="1007" y="2534"/>
                    <a:pt x="1067" y="2474"/>
                    <a:pt x="1067" y="2400"/>
                  </a:cubicBezTo>
                  <a:cubicBezTo>
                    <a:pt x="1067" y="2327"/>
                    <a:pt x="1007" y="2267"/>
                    <a:pt x="934" y="2267"/>
                  </a:cubicBezTo>
                  <a:lnTo>
                    <a:pt x="674" y="2267"/>
                  </a:lnTo>
                  <a:cubicBezTo>
                    <a:pt x="739" y="1415"/>
                    <a:pt x="1415" y="739"/>
                    <a:pt x="2267" y="674"/>
                  </a:cubicBezTo>
                  <a:lnTo>
                    <a:pt x="2267" y="934"/>
                  </a:lnTo>
                  <a:cubicBezTo>
                    <a:pt x="2267" y="1007"/>
                    <a:pt x="2327" y="1067"/>
                    <a:pt x="2400" y="1067"/>
                  </a:cubicBezTo>
                  <a:cubicBezTo>
                    <a:pt x="2474" y="1067"/>
                    <a:pt x="2534" y="1007"/>
                    <a:pt x="2534" y="934"/>
                  </a:cubicBezTo>
                  <a:lnTo>
                    <a:pt x="2534" y="674"/>
                  </a:lnTo>
                  <a:cubicBezTo>
                    <a:pt x="3385" y="739"/>
                    <a:pt x="4062" y="1415"/>
                    <a:pt x="4128" y="2267"/>
                  </a:cubicBezTo>
                  <a:lnTo>
                    <a:pt x="3867" y="2267"/>
                  </a:lnTo>
                  <a:cubicBezTo>
                    <a:pt x="3793" y="2267"/>
                    <a:pt x="3734" y="2327"/>
                    <a:pt x="3734" y="2400"/>
                  </a:cubicBezTo>
                  <a:cubicBezTo>
                    <a:pt x="3734" y="2474"/>
                    <a:pt x="3793" y="2534"/>
                    <a:pt x="3867" y="2534"/>
                  </a:cubicBezTo>
                  <a:lnTo>
                    <a:pt x="4128" y="2534"/>
                  </a:lnTo>
                  <a:cubicBezTo>
                    <a:pt x="4062" y="3385"/>
                    <a:pt x="3385" y="4062"/>
                    <a:pt x="2534" y="4128"/>
                  </a:cubicBezTo>
                  <a:close/>
                  <a:moveTo>
                    <a:pt x="2534" y="4128"/>
                  </a:move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296" name="Grafik 295">
            <a:extLst>
              <a:ext uri="{FF2B5EF4-FFF2-40B4-BE49-F238E27FC236}">
                <a16:creationId xmlns:a16="http://schemas.microsoft.com/office/drawing/2014/main" id="{BFFD4AA6-C6C6-4DED-B1AE-DD5B3B0DFB7F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 rot="5400000">
            <a:off x="1847255" y="2275854"/>
            <a:ext cx="467879" cy="155959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pic>
        <p:nvPicPr>
          <p:cNvPr id="297" name="Grafik 296">
            <a:extLst>
              <a:ext uri="{FF2B5EF4-FFF2-40B4-BE49-F238E27FC236}">
                <a16:creationId xmlns:a16="http://schemas.microsoft.com/office/drawing/2014/main" id="{4CB61079-CECF-4A22-A503-F524907E7502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 rot="16200000">
            <a:off x="2169303" y="2271751"/>
            <a:ext cx="467879" cy="164167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pic>
        <p:nvPicPr>
          <p:cNvPr id="298" name="Grafik 297">
            <a:extLst>
              <a:ext uri="{FF2B5EF4-FFF2-40B4-BE49-F238E27FC236}">
                <a16:creationId xmlns:a16="http://schemas.microsoft.com/office/drawing/2014/main" id="{1E4FA125-0A14-4565-8F0E-83465BF4B571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 rot="5400000">
            <a:off x="2501462" y="2275854"/>
            <a:ext cx="467878" cy="155959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pic>
        <p:nvPicPr>
          <p:cNvPr id="299" name="Grafik 298">
            <a:extLst>
              <a:ext uri="{FF2B5EF4-FFF2-40B4-BE49-F238E27FC236}">
                <a16:creationId xmlns:a16="http://schemas.microsoft.com/office/drawing/2014/main" id="{9BD41796-9BDE-4AA5-B668-F367CDB8F0A2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 rot="5400000">
            <a:off x="1847255" y="2860108"/>
            <a:ext cx="467879" cy="155959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pic>
        <p:nvPicPr>
          <p:cNvPr id="300" name="Grafik 299">
            <a:extLst>
              <a:ext uri="{FF2B5EF4-FFF2-40B4-BE49-F238E27FC236}">
                <a16:creationId xmlns:a16="http://schemas.microsoft.com/office/drawing/2014/main" id="{C1AF0D7E-2EE9-4D28-99A7-4AA1308DCACC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 rot="16200000">
            <a:off x="2169303" y="2856005"/>
            <a:ext cx="467879" cy="164167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pic>
        <p:nvPicPr>
          <p:cNvPr id="301" name="Grafik 300">
            <a:extLst>
              <a:ext uri="{FF2B5EF4-FFF2-40B4-BE49-F238E27FC236}">
                <a16:creationId xmlns:a16="http://schemas.microsoft.com/office/drawing/2014/main" id="{9B5B663A-3204-4E55-8373-4B31525A41B1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 rot="5400000">
            <a:off x="2501462" y="2860108"/>
            <a:ext cx="467878" cy="155959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pic>
        <p:nvPicPr>
          <p:cNvPr id="302" name="Grafik 301">
            <a:extLst>
              <a:ext uri="{FF2B5EF4-FFF2-40B4-BE49-F238E27FC236}">
                <a16:creationId xmlns:a16="http://schemas.microsoft.com/office/drawing/2014/main" id="{B27F9671-F6DD-47A0-A323-39AEC266B727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 rot="5400000">
            <a:off x="1847255" y="3444362"/>
            <a:ext cx="467879" cy="155959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pic>
        <p:nvPicPr>
          <p:cNvPr id="303" name="Grafik 302">
            <a:extLst>
              <a:ext uri="{FF2B5EF4-FFF2-40B4-BE49-F238E27FC236}">
                <a16:creationId xmlns:a16="http://schemas.microsoft.com/office/drawing/2014/main" id="{9EF6E5C1-000F-4620-8B0D-172356A31D8A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 rot="16200000">
            <a:off x="2169303" y="3440259"/>
            <a:ext cx="467879" cy="164167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pic>
        <p:nvPicPr>
          <p:cNvPr id="304" name="Grafik 303">
            <a:extLst>
              <a:ext uri="{FF2B5EF4-FFF2-40B4-BE49-F238E27FC236}">
                <a16:creationId xmlns:a16="http://schemas.microsoft.com/office/drawing/2014/main" id="{7AF58189-B6ED-4171-A185-8D0DEB50B05F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 rot="5400000">
            <a:off x="2501462" y="3444362"/>
            <a:ext cx="467878" cy="155959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pic>
        <p:nvPicPr>
          <p:cNvPr id="305" name="Grafik 304">
            <a:extLst>
              <a:ext uri="{FF2B5EF4-FFF2-40B4-BE49-F238E27FC236}">
                <a16:creationId xmlns:a16="http://schemas.microsoft.com/office/drawing/2014/main" id="{D57399BE-8BE4-4CBF-BF17-DA7D83C46C76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 rot="5400000">
            <a:off x="1847255" y="4028616"/>
            <a:ext cx="467879" cy="155959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pic>
        <p:nvPicPr>
          <p:cNvPr id="306" name="Grafik 305">
            <a:extLst>
              <a:ext uri="{FF2B5EF4-FFF2-40B4-BE49-F238E27FC236}">
                <a16:creationId xmlns:a16="http://schemas.microsoft.com/office/drawing/2014/main" id="{3CE6A3F6-5912-4A0B-BF81-253444FBC566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 rot="16200000">
            <a:off x="2169303" y="4024512"/>
            <a:ext cx="467879" cy="164167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pic>
        <p:nvPicPr>
          <p:cNvPr id="307" name="Grafik 306">
            <a:extLst>
              <a:ext uri="{FF2B5EF4-FFF2-40B4-BE49-F238E27FC236}">
                <a16:creationId xmlns:a16="http://schemas.microsoft.com/office/drawing/2014/main" id="{0D1CF84D-D8C2-43E5-BE6B-CB334C15BDAB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 rot="5400000">
            <a:off x="2501462" y="4028616"/>
            <a:ext cx="467878" cy="155959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pic>
        <p:nvPicPr>
          <p:cNvPr id="308" name="Grafik 307">
            <a:extLst>
              <a:ext uri="{FF2B5EF4-FFF2-40B4-BE49-F238E27FC236}">
                <a16:creationId xmlns:a16="http://schemas.microsoft.com/office/drawing/2014/main" id="{E1498C91-84F5-4D6C-A043-2032298BD92D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 rot="5400000">
            <a:off x="1847255" y="4612870"/>
            <a:ext cx="467879" cy="155959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pic>
        <p:nvPicPr>
          <p:cNvPr id="309" name="Grafik 308">
            <a:extLst>
              <a:ext uri="{FF2B5EF4-FFF2-40B4-BE49-F238E27FC236}">
                <a16:creationId xmlns:a16="http://schemas.microsoft.com/office/drawing/2014/main" id="{37C4FBFF-BDF7-444D-BF48-89CDABA90499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 rot="16200000">
            <a:off x="2169303" y="4608766"/>
            <a:ext cx="467879" cy="164167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pic>
        <p:nvPicPr>
          <p:cNvPr id="310" name="Grafik 309">
            <a:extLst>
              <a:ext uri="{FF2B5EF4-FFF2-40B4-BE49-F238E27FC236}">
                <a16:creationId xmlns:a16="http://schemas.microsoft.com/office/drawing/2014/main" id="{A5A8E779-D7E3-4B5A-AF69-16A06BFC4F02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 rot="5400000">
            <a:off x="2501462" y="4612870"/>
            <a:ext cx="467878" cy="155959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pic>
        <p:nvPicPr>
          <p:cNvPr id="311" name="Grafik 310">
            <a:extLst>
              <a:ext uri="{FF2B5EF4-FFF2-40B4-BE49-F238E27FC236}">
                <a16:creationId xmlns:a16="http://schemas.microsoft.com/office/drawing/2014/main" id="{BDFF46F4-6674-4606-AB3E-14EB5A0A7901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 rot="5400000">
            <a:off x="1847255" y="5197124"/>
            <a:ext cx="467879" cy="155959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pic>
        <p:nvPicPr>
          <p:cNvPr id="312" name="Grafik 311">
            <a:extLst>
              <a:ext uri="{FF2B5EF4-FFF2-40B4-BE49-F238E27FC236}">
                <a16:creationId xmlns:a16="http://schemas.microsoft.com/office/drawing/2014/main" id="{C965B96F-F2BC-4AF8-8A57-B37C5F3C2EA7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 rot="16200000">
            <a:off x="2169303" y="5193020"/>
            <a:ext cx="467879" cy="164167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pic>
        <p:nvPicPr>
          <p:cNvPr id="313" name="Grafik 312">
            <a:extLst>
              <a:ext uri="{FF2B5EF4-FFF2-40B4-BE49-F238E27FC236}">
                <a16:creationId xmlns:a16="http://schemas.microsoft.com/office/drawing/2014/main" id="{22545729-2624-41DC-B67A-AD8F03892D81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 rot="5400000">
            <a:off x="2501462" y="5197124"/>
            <a:ext cx="467878" cy="155959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pic>
        <p:nvPicPr>
          <p:cNvPr id="314" name="Grafik 313">
            <a:extLst>
              <a:ext uri="{FF2B5EF4-FFF2-40B4-BE49-F238E27FC236}">
                <a16:creationId xmlns:a16="http://schemas.microsoft.com/office/drawing/2014/main" id="{0A430C8D-6A3E-41AA-94DF-F7F570BDBBF4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 rot="5400000">
            <a:off x="1847255" y="5781379"/>
            <a:ext cx="467879" cy="155959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pic>
        <p:nvPicPr>
          <p:cNvPr id="315" name="Grafik 314">
            <a:extLst>
              <a:ext uri="{FF2B5EF4-FFF2-40B4-BE49-F238E27FC236}">
                <a16:creationId xmlns:a16="http://schemas.microsoft.com/office/drawing/2014/main" id="{8C5BAC56-D066-4760-BDAD-6C91827109B3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 rot="16200000">
            <a:off x="2169303" y="5777275"/>
            <a:ext cx="467879" cy="164167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pic>
        <p:nvPicPr>
          <p:cNvPr id="316" name="Grafik 315">
            <a:extLst>
              <a:ext uri="{FF2B5EF4-FFF2-40B4-BE49-F238E27FC236}">
                <a16:creationId xmlns:a16="http://schemas.microsoft.com/office/drawing/2014/main" id="{B32D42FB-CEED-45E0-AC3C-AC8CD3FD4170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 rot="5400000">
            <a:off x="2501462" y="5781379"/>
            <a:ext cx="467878" cy="155959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sp>
        <p:nvSpPr>
          <p:cNvPr id="317" name="Rectangle 110">
            <a:extLst>
              <a:ext uri="{FF2B5EF4-FFF2-40B4-BE49-F238E27FC236}">
                <a16:creationId xmlns:a16="http://schemas.microsoft.com/office/drawing/2014/main" id="{F04ACBEB-28F1-48E5-8F4E-F2441B37D63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942587" y="2119192"/>
            <a:ext cx="3001567" cy="532800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>
                <a:lumMod val="75000"/>
              </a:srgbClr>
            </a:solidFill>
            <a:miter lim="800000"/>
            <a:headEnd/>
            <a:tailEnd/>
          </a:ln>
        </p:spPr>
        <p:txBody>
          <a:bodyPr lIns="88615" tIns="36000" rIns="36000" bIns="36000" numCol="1" anchor="ctr"/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207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Current activities</a:t>
            </a:r>
          </a:p>
          <a:p>
            <a:pPr marL="207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Next steps</a:t>
            </a:r>
            <a:endParaRPr kumimoji="0" lang="de-DE" altLang="en-US" sz="10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8" name="Rectangle 110">
            <a:extLst>
              <a:ext uri="{FF2B5EF4-FFF2-40B4-BE49-F238E27FC236}">
                <a16:creationId xmlns:a16="http://schemas.microsoft.com/office/drawing/2014/main" id="{9D6E5E43-B059-4941-AE4A-97E1979D12A4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942588" y="2702094"/>
            <a:ext cx="3001567" cy="532800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>
                <a:lumMod val="75000"/>
              </a:srgbClr>
            </a:solidFill>
            <a:miter lim="800000"/>
            <a:headEnd/>
            <a:tailEnd/>
          </a:ln>
        </p:spPr>
        <p:txBody>
          <a:bodyPr lIns="88615" tIns="36000" rIns="36000" bIns="36000" numCol="1" anchor="ctr"/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207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Current activities</a:t>
            </a:r>
          </a:p>
          <a:p>
            <a:pPr marL="207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Next steps</a:t>
            </a:r>
            <a:endParaRPr kumimoji="0" lang="de-DE" altLang="en-US" sz="10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9" name="Rectangle 110">
            <a:extLst>
              <a:ext uri="{FF2B5EF4-FFF2-40B4-BE49-F238E27FC236}">
                <a16:creationId xmlns:a16="http://schemas.microsoft.com/office/drawing/2014/main" id="{23C6FB07-EA2E-4E70-A6F8-5A317352374F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942588" y="3300458"/>
            <a:ext cx="3001567" cy="532800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>
                <a:lumMod val="75000"/>
              </a:srgbClr>
            </a:solidFill>
            <a:miter lim="800000"/>
            <a:headEnd/>
            <a:tailEnd/>
          </a:ln>
        </p:spPr>
        <p:txBody>
          <a:bodyPr lIns="88615" tIns="36000" rIns="36000" bIns="36000" numCol="1" anchor="ctr"/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207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Current activities</a:t>
            </a:r>
          </a:p>
          <a:p>
            <a:pPr marL="207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Next steps</a:t>
            </a:r>
            <a:endParaRPr kumimoji="0" lang="de-DE" altLang="en-US" sz="10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20" name="Rectangle 110">
            <a:extLst>
              <a:ext uri="{FF2B5EF4-FFF2-40B4-BE49-F238E27FC236}">
                <a16:creationId xmlns:a16="http://schemas.microsoft.com/office/drawing/2014/main" id="{9BE52E39-8C9D-4BB4-AD68-87456E9F8637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942588" y="3898896"/>
            <a:ext cx="3001567" cy="532800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>
                <a:lumMod val="75000"/>
              </a:srgbClr>
            </a:solidFill>
            <a:miter lim="800000"/>
            <a:headEnd/>
            <a:tailEnd/>
          </a:ln>
        </p:spPr>
        <p:txBody>
          <a:bodyPr lIns="88615" tIns="36000" rIns="36000" bIns="36000" numCol="1" anchor="ctr"/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207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Current activities</a:t>
            </a:r>
          </a:p>
          <a:p>
            <a:pPr marL="207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Next steps</a:t>
            </a:r>
            <a:endParaRPr kumimoji="0" lang="de-DE" altLang="en-US" sz="10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21" name="Rectangle 110">
            <a:extLst>
              <a:ext uri="{FF2B5EF4-FFF2-40B4-BE49-F238E27FC236}">
                <a16:creationId xmlns:a16="http://schemas.microsoft.com/office/drawing/2014/main" id="{1D37826F-ECD5-42E9-8782-DF603A9008DE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942588" y="4474767"/>
            <a:ext cx="3001567" cy="532800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>
                <a:lumMod val="75000"/>
              </a:srgbClr>
            </a:solidFill>
            <a:miter lim="800000"/>
            <a:headEnd/>
            <a:tailEnd/>
          </a:ln>
        </p:spPr>
        <p:txBody>
          <a:bodyPr lIns="88615" tIns="36000" rIns="36000" bIns="36000" numCol="1" anchor="ctr"/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207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Current activities</a:t>
            </a:r>
          </a:p>
          <a:p>
            <a:pPr marL="207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Next steps</a:t>
            </a:r>
            <a:endParaRPr kumimoji="0" lang="de-DE" altLang="en-US" sz="10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22" name="Rectangle 110">
            <a:extLst>
              <a:ext uri="{FF2B5EF4-FFF2-40B4-BE49-F238E27FC236}">
                <a16:creationId xmlns:a16="http://schemas.microsoft.com/office/drawing/2014/main" id="{EB5D974B-9C27-4AC0-BFC6-66FAE379C47E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942588" y="5043878"/>
            <a:ext cx="3001567" cy="532800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>
                <a:lumMod val="75000"/>
              </a:srgbClr>
            </a:solidFill>
            <a:miter lim="800000"/>
            <a:headEnd/>
            <a:tailEnd/>
          </a:ln>
        </p:spPr>
        <p:txBody>
          <a:bodyPr lIns="88615" tIns="36000" rIns="36000" bIns="36000" numCol="1" anchor="ctr"/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207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Current activities</a:t>
            </a:r>
          </a:p>
          <a:p>
            <a:pPr marL="207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Next steps</a:t>
            </a:r>
            <a:endParaRPr kumimoji="0" lang="de-DE" altLang="en-US" sz="10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23" name="Rectangle 110">
            <a:extLst>
              <a:ext uri="{FF2B5EF4-FFF2-40B4-BE49-F238E27FC236}">
                <a16:creationId xmlns:a16="http://schemas.microsoft.com/office/drawing/2014/main" id="{CCAB50D9-BEF2-4B14-B6C7-295252061E20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942588" y="5609011"/>
            <a:ext cx="3001567" cy="532800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>
                <a:lumMod val="75000"/>
              </a:srgbClr>
            </a:solidFill>
            <a:miter lim="800000"/>
            <a:headEnd/>
            <a:tailEnd/>
          </a:ln>
        </p:spPr>
        <p:txBody>
          <a:bodyPr lIns="88615" tIns="36000" rIns="36000" bIns="36000" numCol="1" anchor="ctr"/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207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Current activities</a:t>
            </a:r>
          </a:p>
          <a:p>
            <a:pPr marL="207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Next steps</a:t>
            </a:r>
            <a:endParaRPr kumimoji="0" lang="de-DE" altLang="en-US" sz="10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EA366DEC-BD35-4CD1-909E-5F9420797297}"/>
              </a:ext>
            </a:extLst>
          </p:cNvPr>
          <p:cNvSpPr/>
          <p:nvPr/>
        </p:nvSpPr>
        <p:spPr bwMode="gray">
          <a:xfrm>
            <a:off x="1903552" y="6363176"/>
            <a:ext cx="196222" cy="238592"/>
          </a:xfrm>
          <a:prstGeom prst="rect">
            <a:avLst/>
          </a:prstGeom>
          <a:solidFill>
            <a:srgbClr val="00206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€</a:t>
            </a:r>
            <a:endParaRPr kumimoji="0" lang="en-DE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5" name="Rechteck 324">
            <a:extLst>
              <a:ext uri="{FF2B5EF4-FFF2-40B4-BE49-F238E27FC236}">
                <a16:creationId xmlns:a16="http://schemas.microsoft.com/office/drawing/2014/main" id="{E4129752-712A-4971-8F6B-15B6FE3E24B0}"/>
              </a:ext>
            </a:extLst>
          </p:cNvPr>
          <p:cNvSpPr/>
          <p:nvPr/>
        </p:nvSpPr>
        <p:spPr bwMode="gray">
          <a:xfrm>
            <a:off x="2748405" y="6363176"/>
            <a:ext cx="196222" cy="238592"/>
          </a:xfrm>
          <a:prstGeom prst="rect">
            <a:avLst/>
          </a:prstGeom>
          <a:solidFill>
            <a:srgbClr val="00206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00AC4126-73D9-4913-8956-B874A14E28F3}"/>
              </a:ext>
            </a:extLst>
          </p:cNvPr>
          <p:cNvSpPr/>
          <p:nvPr/>
        </p:nvSpPr>
        <p:spPr bwMode="gray">
          <a:xfrm>
            <a:off x="1123428" y="6367783"/>
            <a:ext cx="196222" cy="238592"/>
          </a:xfrm>
          <a:prstGeom prst="rect">
            <a:avLst/>
          </a:prstGeom>
          <a:solidFill>
            <a:srgbClr val="00206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</a:t>
            </a:r>
            <a:endParaRPr kumimoji="0" lang="en-DE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27" name="Google Shape;4015;p13">
            <a:extLst>
              <a:ext uri="{FF2B5EF4-FFF2-40B4-BE49-F238E27FC236}">
                <a16:creationId xmlns:a16="http://schemas.microsoft.com/office/drawing/2014/main" id="{9A46D673-7EA3-4197-B19D-20E5153127D6}"/>
              </a:ext>
            </a:extLst>
          </p:cNvPr>
          <p:cNvGrpSpPr/>
          <p:nvPr/>
        </p:nvGrpSpPr>
        <p:grpSpPr>
          <a:xfrm>
            <a:off x="2757615" y="6397152"/>
            <a:ext cx="187011" cy="186053"/>
            <a:chOff x="6367" y="2707"/>
            <a:chExt cx="735" cy="735"/>
          </a:xfrm>
          <a:solidFill>
            <a:sysClr val="window" lastClr="FFFFFF"/>
          </a:solidFill>
        </p:grpSpPr>
        <p:sp>
          <p:nvSpPr>
            <p:cNvPr id="328" name="Google Shape;4016;p13">
              <a:extLst>
                <a:ext uri="{FF2B5EF4-FFF2-40B4-BE49-F238E27FC236}">
                  <a16:creationId xmlns:a16="http://schemas.microsoft.com/office/drawing/2014/main" id="{52002809-B6BE-468C-95EA-043CB3F37123}"/>
                </a:ext>
              </a:extLst>
            </p:cNvPr>
            <p:cNvSpPr/>
            <p:nvPr/>
          </p:nvSpPr>
          <p:spPr>
            <a:xfrm>
              <a:off x="6367" y="2707"/>
              <a:ext cx="735" cy="735"/>
            </a:xfrm>
            <a:custGeom>
              <a:avLst/>
              <a:gdLst/>
              <a:ahLst/>
              <a:cxnLst/>
              <a:rect l="l" t="t" r="r" b="b"/>
              <a:pathLst>
                <a:path w="8267" h="8267" extrusionOk="0">
                  <a:moveTo>
                    <a:pt x="8133" y="3733"/>
                  </a:moveTo>
                  <a:lnTo>
                    <a:pt x="7845" y="3733"/>
                  </a:lnTo>
                  <a:cubicBezTo>
                    <a:pt x="7655" y="1989"/>
                    <a:pt x="6277" y="612"/>
                    <a:pt x="4533" y="421"/>
                  </a:cubicBezTo>
                  <a:lnTo>
                    <a:pt x="4533" y="133"/>
                  </a:lnTo>
                  <a:cubicBezTo>
                    <a:pt x="4533" y="60"/>
                    <a:pt x="4474" y="0"/>
                    <a:pt x="4400" y="0"/>
                  </a:cubicBezTo>
                  <a:lnTo>
                    <a:pt x="3867" y="0"/>
                  </a:lnTo>
                  <a:cubicBezTo>
                    <a:pt x="3793" y="0"/>
                    <a:pt x="3733" y="60"/>
                    <a:pt x="3733" y="133"/>
                  </a:cubicBezTo>
                  <a:lnTo>
                    <a:pt x="3733" y="421"/>
                  </a:lnTo>
                  <a:cubicBezTo>
                    <a:pt x="1989" y="612"/>
                    <a:pt x="612" y="1989"/>
                    <a:pt x="421" y="3733"/>
                  </a:cubicBezTo>
                  <a:lnTo>
                    <a:pt x="133" y="3733"/>
                  </a:lnTo>
                  <a:cubicBezTo>
                    <a:pt x="60" y="3733"/>
                    <a:pt x="0" y="3793"/>
                    <a:pt x="0" y="3867"/>
                  </a:cubicBezTo>
                  <a:lnTo>
                    <a:pt x="0" y="4400"/>
                  </a:lnTo>
                  <a:cubicBezTo>
                    <a:pt x="0" y="4474"/>
                    <a:pt x="60" y="4533"/>
                    <a:pt x="133" y="4533"/>
                  </a:cubicBezTo>
                  <a:lnTo>
                    <a:pt x="421" y="4533"/>
                  </a:lnTo>
                  <a:cubicBezTo>
                    <a:pt x="612" y="6277"/>
                    <a:pt x="1989" y="7655"/>
                    <a:pt x="3733" y="7845"/>
                  </a:cubicBezTo>
                  <a:lnTo>
                    <a:pt x="3733" y="8133"/>
                  </a:lnTo>
                  <a:cubicBezTo>
                    <a:pt x="3733" y="8207"/>
                    <a:pt x="3793" y="8267"/>
                    <a:pt x="3867" y="8267"/>
                  </a:cubicBezTo>
                  <a:lnTo>
                    <a:pt x="4400" y="8267"/>
                  </a:lnTo>
                  <a:cubicBezTo>
                    <a:pt x="4474" y="8267"/>
                    <a:pt x="4533" y="8207"/>
                    <a:pt x="4533" y="8133"/>
                  </a:cubicBezTo>
                  <a:lnTo>
                    <a:pt x="4533" y="7845"/>
                  </a:lnTo>
                  <a:cubicBezTo>
                    <a:pt x="6277" y="7655"/>
                    <a:pt x="7655" y="6277"/>
                    <a:pt x="7845" y="4533"/>
                  </a:cubicBezTo>
                  <a:lnTo>
                    <a:pt x="8133" y="4533"/>
                  </a:lnTo>
                  <a:cubicBezTo>
                    <a:pt x="8207" y="4533"/>
                    <a:pt x="8267" y="4474"/>
                    <a:pt x="8267" y="4400"/>
                  </a:cubicBezTo>
                  <a:lnTo>
                    <a:pt x="8267" y="3867"/>
                  </a:lnTo>
                  <a:cubicBezTo>
                    <a:pt x="8267" y="3793"/>
                    <a:pt x="8207" y="3733"/>
                    <a:pt x="8133" y="3733"/>
                  </a:cubicBezTo>
                  <a:close/>
                  <a:moveTo>
                    <a:pt x="4000" y="267"/>
                  </a:moveTo>
                  <a:lnTo>
                    <a:pt x="4267" y="267"/>
                  </a:lnTo>
                  <a:lnTo>
                    <a:pt x="4267" y="800"/>
                  </a:lnTo>
                  <a:lnTo>
                    <a:pt x="4000" y="800"/>
                  </a:lnTo>
                  <a:lnTo>
                    <a:pt x="4000" y="267"/>
                  </a:lnTo>
                  <a:close/>
                  <a:moveTo>
                    <a:pt x="267" y="4267"/>
                  </a:moveTo>
                  <a:lnTo>
                    <a:pt x="267" y="4000"/>
                  </a:lnTo>
                  <a:lnTo>
                    <a:pt x="800" y="4000"/>
                  </a:lnTo>
                  <a:lnTo>
                    <a:pt x="800" y="4267"/>
                  </a:lnTo>
                  <a:lnTo>
                    <a:pt x="267" y="4267"/>
                  </a:lnTo>
                  <a:close/>
                  <a:moveTo>
                    <a:pt x="4267" y="8000"/>
                  </a:moveTo>
                  <a:lnTo>
                    <a:pt x="4000" y="8000"/>
                  </a:lnTo>
                  <a:lnTo>
                    <a:pt x="4000" y="7467"/>
                  </a:lnTo>
                  <a:lnTo>
                    <a:pt x="4267" y="7467"/>
                  </a:lnTo>
                  <a:lnTo>
                    <a:pt x="4267" y="8000"/>
                  </a:lnTo>
                  <a:close/>
                  <a:moveTo>
                    <a:pt x="4533" y="7577"/>
                  </a:moveTo>
                  <a:lnTo>
                    <a:pt x="4533" y="7333"/>
                  </a:lnTo>
                  <a:cubicBezTo>
                    <a:pt x="4533" y="7260"/>
                    <a:pt x="4474" y="7200"/>
                    <a:pt x="4400" y="7200"/>
                  </a:cubicBezTo>
                  <a:lnTo>
                    <a:pt x="3867" y="7200"/>
                  </a:lnTo>
                  <a:cubicBezTo>
                    <a:pt x="3793" y="7200"/>
                    <a:pt x="3733" y="7260"/>
                    <a:pt x="3733" y="7333"/>
                  </a:cubicBezTo>
                  <a:lnTo>
                    <a:pt x="3733" y="7577"/>
                  </a:lnTo>
                  <a:cubicBezTo>
                    <a:pt x="2136" y="7390"/>
                    <a:pt x="877" y="6130"/>
                    <a:pt x="689" y="4533"/>
                  </a:cubicBezTo>
                  <a:lnTo>
                    <a:pt x="933" y="4533"/>
                  </a:lnTo>
                  <a:cubicBezTo>
                    <a:pt x="1007" y="4533"/>
                    <a:pt x="1067" y="4474"/>
                    <a:pt x="1067" y="4400"/>
                  </a:cubicBezTo>
                  <a:lnTo>
                    <a:pt x="1067" y="3867"/>
                  </a:lnTo>
                  <a:cubicBezTo>
                    <a:pt x="1067" y="3793"/>
                    <a:pt x="1007" y="3733"/>
                    <a:pt x="933" y="3733"/>
                  </a:cubicBezTo>
                  <a:lnTo>
                    <a:pt x="689" y="3733"/>
                  </a:lnTo>
                  <a:cubicBezTo>
                    <a:pt x="877" y="2136"/>
                    <a:pt x="2136" y="877"/>
                    <a:pt x="3733" y="689"/>
                  </a:cubicBezTo>
                  <a:lnTo>
                    <a:pt x="3733" y="933"/>
                  </a:lnTo>
                  <a:cubicBezTo>
                    <a:pt x="3733" y="1007"/>
                    <a:pt x="3793" y="1067"/>
                    <a:pt x="3867" y="1067"/>
                  </a:cubicBezTo>
                  <a:lnTo>
                    <a:pt x="4400" y="1067"/>
                  </a:lnTo>
                  <a:cubicBezTo>
                    <a:pt x="4474" y="1067"/>
                    <a:pt x="4533" y="1007"/>
                    <a:pt x="4533" y="933"/>
                  </a:cubicBezTo>
                  <a:lnTo>
                    <a:pt x="4533" y="689"/>
                  </a:lnTo>
                  <a:cubicBezTo>
                    <a:pt x="6130" y="877"/>
                    <a:pt x="7390" y="2136"/>
                    <a:pt x="7577" y="3733"/>
                  </a:cubicBezTo>
                  <a:lnTo>
                    <a:pt x="7333" y="3733"/>
                  </a:lnTo>
                  <a:cubicBezTo>
                    <a:pt x="7260" y="3733"/>
                    <a:pt x="7200" y="3793"/>
                    <a:pt x="7200" y="3867"/>
                  </a:cubicBezTo>
                  <a:lnTo>
                    <a:pt x="7200" y="4400"/>
                  </a:lnTo>
                  <a:cubicBezTo>
                    <a:pt x="7200" y="4474"/>
                    <a:pt x="7260" y="4533"/>
                    <a:pt x="7333" y="4533"/>
                  </a:cubicBezTo>
                  <a:lnTo>
                    <a:pt x="7577" y="4533"/>
                  </a:lnTo>
                  <a:cubicBezTo>
                    <a:pt x="7390" y="6130"/>
                    <a:pt x="6130" y="7390"/>
                    <a:pt x="4533" y="7577"/>
                  </a:cubicBezTo>
                  <a:close/>
                  <a:moveTo>
                    <a:pt x="8000" y="4267"/>
                  </a:moveTo>
                  <a:lnTo>
                    <a:pt x="7467" y="4267"/>
                  </a:lnTo>
                  <a:lnTo>
                    <a:pt x="7467" y="4000"/>
                  </a:lnTo>
                  <a:lnTo>
                    <a:pt x="8000" y="4000"/>
                  </a:lnTo>
                  <a:lnTo>
                    <a:pt x="8000" y="4267"/>
                  </a:lnTo>
                  <a:close/>
                  <a:moveTo>
                    <a:pt x="8000" y="4267"/>
                  </a:move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9" name="Google Shape;4017;p13">
              <a:extLst>
                <a:ext uri="{FF2B5EF4-FFF2-40B4-BE49-F238E27FC236}">
                  <a16:creationId xmlns:a16="http://schemas.microsoft.com/office/drawing/2014/main" id="{803C1787-9DB9-4E3C-B1BF-EA60A4A69AE4}"/>
                </a:ext>
              </a:extLst>
            </p:cNvPr>
            <p:cNvSpPr/>
            <p:nvPr/>
          </p:nvSpPr>
          <p:spPr>
            <a:xfrm>
              <a:off x="6675" y="3015"/>
              <a:ext cx="119" cy="119"/>
            </a:xfrm>
            <a:custGeom>
              <a:avLst/>
              <a:gdLst/>
              <a:ahLst/>
              <a:cxnLst/>
              <a:rect l="l" t="t" r="r" b="b"/>
              <a:pathLst>
                <a:path w="1333" h="1333" extrusionOk="0">
                  <a:moveTo>
                    <a:pt x="666" y="0"/>
                  </a:moveTo>
                  <a:cubicBezTo>
                    <a:pt x="298" y="0"/>
                    <a:pt x="0" y="298"/>
                    <a:pt x="0" y="666"/>
                  </a:cubicBezTo>
                  <a:cubicBezTo>
                    <a:pt x="0" y="1034"/>
                    <a:pt x="298" y="1333"/>
                    <a:pt x="666" y="1333"/>
                  </a:cubicBezTo>
                  <a:cubicBezTo>
                    <a:pt x="1034" y="1333"/>
                    <a:pt x="1333" y="1034"/>
                    <a:pt x="1333" y="666"/>
                  </a:cubicBezTo>
                  <a:cubicBezTo>
                    <a:pt x="1333" y="298"/>
                    <a:pt x="1034" y="0"/>
                    <a:pt x="666" y="0"/>
                  </a:cubicBezTo>
                  <a:close/>
                  <a:moveTo>
                    <a:pt x="666" y="1066"/>
                  </a:moveTo>
                  <a:cubicBezTo>
                    <a:pt x="445" y="1066"/>
                    <a:pt x="266" y="887"/>
                    <a:pt x="266" y="666"/>
                  </a:cubicBezTo>
                  <a:cubicBezTo>
                    <a:pt x="266" y="445"/>
                    <a:pt x="445" y="266"/>
                    <a:pt x="666" y="266"/>
                  </a:cubicBezTo>
                  <a:cubicBezTo>
                    <a:pt x="887" y="266"/>
                    <a:pt x="1066" y="445"/>
                    <a:pt x="1066" y="666"/>
                  </a:cubicBezTo>
                  <a:cubicBezTo>
                    <a:pt x="1066" y="887"/>
                    <a:pt x="887" y="1066"/>
                    <a:pt x="666" y="1066"/>
                  </a:cubicBezTo>
                  <a:close/>
                  <a:moveTo>
                    <a:pt x="666" y="1066"/>
                  </a:move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0" name="Google Shape;4018;p13">
              <a:extLst>
                <a:ext uri="{FF2B5EF4-FFF2-40B4-BE49-F238E27FC236}">
                  <a16:creationId xmlns:a16="http://schemas.microsoft.com/office/drawing/2014/main" id="{2AA1F53C-F201-4774-B0CC-4C0096E3E7CC}"/>
                </a:ext>
              </a:extLst>
            </p:cNvPr>
            <p:cNvSpPr/>
            <p:nvPr/>
          </p:nvSpPr>
          <p:spPr>
            <a:xfrm>
              <a:off x="6521" y="2861"/>
              <a:ext cx="427" cy="427"/>
            </a:xfrm>
            <a:custGeom>
              <a:avLst/>
              <a:gdLst/>
              <a:ahLst/>
              <a:cxnLst/>
              <a:rect l="l" t="t" r="r" b="b"/>
              <a:pathLst>
                <a:path w="4800" h="4800" extrusionOk="0">
                  <a:moveTo>
                    <a:pt x="4667" y="2267"/>
                  </a:moveTo>
                  <a:lnTo>
                    <a:pt x="4395" y="2267"/>
                  </a:lnTo>
                  <a:cubicBezTo>
                    <a:pt x="4328" y="1268"/>
                    <a:pt x="3532" y="473"/>
                    <a:pt x="2534" y="406"/>
                  </a:cubicBezTo>
                  <a:lnTo>
                    <a:pt x="2534" y="134"/>
                  </a:lnTo>
                  <a:cubicBezTo>
                    <a:pt x="2534" y="60"/>
                    <a:pt x="2474" y="0"/>
                    <a:pt x="2400" y="0"/>
                  </a:cubicBezTo>
                  <a:cubicBezTo>
                    <a:pt x="2327" y="0"/>
                    <a:pt x="2267" y="60"/>
                    <a:pt x="2267" y="134"/>
                  </a:cubicBezTo>
                  <a:lnTo>
                    <a:pt x="2267" y="406"/>
                  </a:lnTo>
                  <a:cubicBezTo>
                    <a:pt x="1268" y="473"/>
                    <a:pt x="473" y="1268"/>
                    <a:pt x="406" y="2267"/>
                  </a:cubicBezTo>
                  <a:lnTo>
                    <a:pt x="134" y="2267"/>
                  </a:lnTo>
                  <a:cubicBezTo>
                    <a:pt x="60" y="2267"/>
                    <a:pt x="0" y="2327"/>
                    <a:pt x="0" y="2400"/>
                  </a:cubicBezTo>
                  <a:cubicBezTo>
                    <a:pt x="0" y="2474"/>
                    <a:pt x="60" y="2534"/>
                    <a:pt x="134" y="2534"/>
                  </a:cubicBezTo>
                  <a:lnTo>
                    <a:pt x="406" y="2534"/>
                  </a:lnTo>
                  <a:cubicBezTo>
                    <a:pt x="473" y="3532"/>
                    <a:pt x="1268" y="4328"/>
                    <a:pt x="2267" y="4395"/>
                  </a:cubicBezTo>
                  <a:lnTo>
                    <a:pt x="2267" y="4667"/>
                  </a:lnTo>
                  <a:cubicBezTo>
                    <a:pt x="2267" y="4741"/>
                    <a:pt x="2327" y="4800"/>
                    <a:pt x="2400" y="4800"/>
                  </a:cubicBezTo>
                  <a:cubicBezTo>
                    <a:pt x="2474" y="4800"/>
                    <a:pt x="2534" y="4741"/>
                    <a:pt x="2534" y="4667"/>
                  </a:cubicBezTo>
                  <a:lnTo>
                    <a:pt x="2534" y="4395"/>
                  </a:lnTo>
                  <a:cubicBezTo>
                    <a:pt x="3532" y="4328"/>
                    <a:pt x="4328" y="3532"/>
                    <a:pt x="4395" y="2534"/>
                  </a:cubicBezTo>
                  <a:lnTo>
                    <a:pt x="4667" y="2534"/>
                  </a:lnTo>
                  <a:cubicBezTo>
                    <a:pt x="4741" y="2534"/>
                    <a:pt x="4800" y="2474"/>
                    <a:pt x="4800" y="2400"/>
                  </a:cubicBezTo>
                  <a:cubicBezTo>
                    <a:pt x="4800" y="2327"/>
                    <a:pt x="4741" y="2267"/>
                    <a:pt x="4667" y="2267"/>
                  </a:cubicBezTo>
                  <a:close/>
                  <a:moveTo>
                    <a:pt x="2534" y="4128"/>
                  </a:moveTo>
                  <a:lnTo>
                    <a:pt x="2534" y="3867"/>
                  </a:lnTo>
                  <a:cubicBezTo>
                    <a:pt x="2534" y="3793"/>
                    <a:pt x="2474" y="3734"/>
                    <a:pt x="2400" y="3734"/>
                  </a:cubicBezTo>
                  <a:cubicBezTo>
                    <a:pt x="2327" y="3734"/>
                    <a:pt x="2267" y="3793"/>
                    <a:pt x="2267" y="3867"/>
                  </a:cubicBezTo>
                  <a:lnTo>
                    <a:pt x="2267" y="4128"/>
                  </a:lnTo>
                  <a:cubicBezTo>
                    <a:pt x="1415" y="4062"/>
                    <a:pt x="739" y="3385"/>
                    <a:pt x="674" y="2534"/>
                  </a:cubicBezTo>
                  <a:lnTo>
                    <a:pt x="934" y="2534"/>
                  </a:lnTo>
                  <a:cubicBezTo>
                    <a:pt x="1007" y="2534"/>
                    <a:pt x="1067" y="2474"/>
                    <a:pt x="1067" y="2400"/>
                  </a:cubicBezTo>
                  <a:cubicBezTo>
                    <a:pt x="1067" y="2327"/>
                    <a:pt x="1007" y="2267"/>
                    <a:pt x="934" y="2267"/>
                  </a:cubicBezTo>
                  <a:lnTo>
                    <a:pt x="674" y="2267"/>
                  </a:lnTo>
                  <a:cubicBezTo>
                    <a:pt x="739" y="1415"/>
                    <a:pt x="1415" y="739"/>
                    <a:pt x="2267" y="674"/>
                  </a:cubicBezTo>
                  <a:lnTo>
                    <a:pt x="2267" y="934"/>
                  </a:lnTo>
                  <a:cubicBezTo>
                    <a:pt x="2267" y="1007"/>
                    <a:pt x="2327" y="1067"/>
                    <a:pt x="2400" y="1067"/>
                  </a:cubicBezTo>
                  <a:cubicBezTo>
                    <a:pt x="2474" y="1067"/>
                    <a:pt x="2534" y="1007"/>
                    <a:pt x="2534" y="934"/>
                  </a:cubicBezTo>
                  <a:lnTo>
                    <a:pt x="2534" y="674"/>
                  </a:lnTo>
                  <a:cubicBezTo>
                    <a:pt x="3385" y="739"/>
                    <a:pt x="4062" y="1415"/>
                    <a:pt x="4128" y="2267"/>
                  </a:cubicBezTo>
                  <a:lnTo>
                    <a:pt x="3867" y="2267"/>
                  </a:lnTo>
                  <a:cubicBezTo>
                    <a:pt x="3793" y="2267"/>
                    <a:pt x="3734" y="2327"/>
                    <a:pt x="3734" y="2400"/>
                  </a:cubicBezTo>
                  <a:cubicBezTo>
                    <a:pt x="3734" y="2474"/>
                    <a:pt x="3793" y="2534"/>
                    <a:pt x="3867" y="2534"/>
                  </a:cubicBezTo>
                  <a:lnTo>
                    <a:pt x="4128" y="2534"/>
                  </a:lnTo>
                  <a:cubicBezTo>
                    <a:pt x="4062" y="3385"/>
                    <a:pt x="3385" y="4062"/>
                    <a:pt x="2534" y="4128"/>
                  </a:cubicBezTo>
                  <a:close/>
                  <a:moveTo>
                    <a:pt x="2534" y="4128"/>
                  </a:move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31" name="Textfeld 330">
            <a:extLst>
              <a:ext uri="{FF2B5EF4-FFF2-40B4-BE49-F238E27FC236}">
                <a16:creationId xmlns:a16="http://schemas.microsoft.com/office/drawing/2014/main" id="{341BF1C1-5DDB-4FF2-A77D-A8F0C08859E9}"/>
              </a:ext>
            </a:extLst>
          </p:cNvPr>
          <p:cNvSpPr txBox="1"/>
          <p:nvPr/>
        </p:nvSpPr>
        <p:spPr>
          <a:xfrm>
            <a:off x="1372919" y="6417974"/>
            <a:ext cx="38472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79946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8800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ming</a:t>
            </a:r>
          </a:p>
        </p:txBody>
      </p:sp>
      <p:sp>
        <p:nvSpPr>
          <p:cNvPr id="332" name="Textfeld 331">
            <a:extLst>
              <a:ext uri="{FF2B5EF4-FFF2-40B4-BE49-F238E27FC236}">
                <a16:creationId xmlns:a16="http://schemas.microsoft.com/office/drawing/2014/main" id="{AF5AC722-CDB0-461F-94B7-AE40FF4264AF}"/>
              </a:ext>
            </a:extLst>
          </p:cNvPr>
          <p:cNvSpPr txBox="1"/>
          <p:nvPr/>
        </p:nvSpPr>
        <p:spPr>
          <a:xfrm>
            <a:off x="2149181" y="6417974"/>
            <a:ext cx="402354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79946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8800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dget</a:t>
            </a:r>
          </a:p>
        </p:txBody>
      </p:sp>
      <p:sp>
        <p:nvSpPr>
          <p:cNvPr id="333" name="Textfeld 332">
            <a:extLst>
              <a:ext uri="{FF2B5EF4-FFF2-40B4-BE49-F238E27FC236}">
                <a16:creationId xmlns:a16="http://schemas.microsoft.com/office/drawing/2014/main" id="{4D3AD0F4-0604-4428-9889-5DCDEE1DB022}"/>
              </a:ext>
            </a:extLst>
          </p:cNvPr>
          <p:cNvSpPr txBox="1"/>
          <p:nvPr/>
        </p:nvSpPr>
        <p:spPr>
          <a:xfrm>
            <a:off x="2998053" y="6413234"/>
            <a:ext cx="68127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79946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8800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y Results</a:t>
            </a:r>
          </a:p>
        </p:txBody>
      </p:sp>
      <p:graphicFrame>
        <p:nvGraphicFramePr>
          <p:cNvPr id="199" name="Group 47">
            <a:extLst>
              <a:ext uri="{FF2B5EF4-FFF2-40B4-BE49-F238E27FC236}">
                <a16:creationId xmlns:a16="http://schemas.microsoft.com/office/drawing/2014/main" id="{2B551779-5B72-4007-84F4-DE898052BDD9}"/>
              </a:ext>
            </a:extLst>
          </p:cNvPr>
          <p:cNvGraphicFramePr>
            <a:graphicFrameLocks noGrp="1"/>
          </p:cNvGraphicFramePr>
          <p:nvPr/>
        </p:nvGraphicFramePr>
        <p:xfrm>
          <a:off x="8735982" y="1196752"/>
          <a:ext cx="3001244" cy="252000"/>
        </p:xfrm>
        <a:graphic>
          <a:graphicData uri="http://schemas.openxmlformats.org/drawingml/2006/table">
            <a:tbl>
              <a:tblPr bandRow="1"/>
              <a:tblGrid>
                <a:gridCol w="30012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52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65000"/>
                        <a:buFont typeface="Monotype Sorts"/>
                        <a:buNone/>
                        <a:tabLst/>
                      </a:pPr>
                      <a:r>
                        <a:rPr kumimoji="0" lang="de-DE" sz="9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ヒラギノ角ゴ ProN W6"/>
                          <a:cs typeface="ヒラギノ角ゴ ProN W6"/>
                          <a:sym typeface="Arial" pitchFamily="34" charset="0"/>
                        </a:rPr>
                        <a:t>Project status &amp; activities</a:t>
                      </a:r>
                    </a:p>
                  </a:txBody>
                  <a:tcPr marL="68580" marR="68580" marT="36003" marB="36003" anchor="ctr" horzOverflow="overflow">
                    <a:lnL w="317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00" name="Rectangle 110">
            <a:extLst>
              <a:ext uri="{FF2B5EF4-FFF2-40B4-BE49-F238E27FC236}">
                <a16:creationId xmlns:a16="http://schemas.microsoft.com/office/drawing/2014/main" id="{C3A04858-44E1-4B03-A5A8-AFF48E25A151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735659" y="1535735"/>
            <a:ext cx="3001567" cy="532800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>
                <a:lumMod val="75000"/>
              </a:srgbClr>
            </a:solidFill>
            <a:miter lim="800000"/>
            <a:headEnd/>
            <a:tailEnd/>
          </a:ln>
        </p:spPr>
        <p:txBody>
          <a:bodyPr lIns="88615" tIns="36000" rIns="36000" bIns="36000" numCol="1" anchor="ctr"/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207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Current activities</a:t>
            </a:r>
          </a:p>
          <a:p>
            <a:pPr marL="207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Next steps</a:t>
            </a:r>
            <a:endParaRPr kumimoji="0" lang="de-DE" altLang="en-US" sz="10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1" name="Rectangle 18">
            <a:extLst>
              <a:ext uri="{FF2B5EF4-FFF2-40B4-BE49-F238E27FC236}">
                <a16:creationId xmlns:a16="http://schemas.microsoft.com/office/drawing/2014/main" id="{EAC43420-521D-4B19-8FD9-12086A2ACE36}"/>
              </a:ext>
            </a:extLst>
          </p:cNvPr>
          <p:cNvSpPr/>
          <p:nvPr/>
        </p:nvSpPr>
        <p:spPr>
          <a:xfrm>
            <a:off x="6360134" y="1536861"/>
            <a:ext cx="1348333" cy="532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88615" tIns="44308" rIns="44308" bIns="443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1786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Project 9</a:t>
            </a:r>
          </a:p>
        </p:txBody>
      </p:sp>
      <p:sp>
        <p:nvSpPr>
          <p:cNvPr id="202" name="Rectangle 31">
            <a:extLst>
              <a:ext uri="{FF2B5EF4-FFF2-40B4-BE49-F238E27FC236}">
                <a16:creationId xmlns:a16="http://schemas.microsoft.com/office/drawing/2014/main" id="{C8D0DBD5-3144-4074-916D-03E5811F3FAA}"/>
              </a:ext>
            </a:extLst>
          </p:cNvPr>
          <p:cNvSpPr/>
          <p:nvPr/>
        </p:nvSpPr>
        <p:spPr>
          <a:xfrm>
            <a:off x="6360134" y="2117529"/>
            <a:ext cx="1348333" cy="532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88615" tIns="44308" rIns="44308" bIns="443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1786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Project 10</a:t>
            </a:r>
          </a:p>
        </p:txBody>
      </p:sp>
      <p:sp>
        <p:nvSpPr>
          <p:cNvPr id="203" name="Rectangle 44">
            <a:extLst>
              <a:ext uri="{FF2B5EF4-FFF2-40B4-BE49-F238E27FC236}">
                <a16:creationId xmlns:a16="http://schemas.microsoft.com/office/drawing/2014/main" id="{3548CF6A-3792-4219-9B33-890707AA57C5}"/>
              </a:ext>
            </a:extLst>
          </p:cNvPr>
          <p:cNvSpPr/>
          <p:nvPr/>
        </p:nvSpPr>
        <p:spPr>
          <a:xfrm>
            <a:off x="6360134" y="2698197"/>
            <a:ext cx="1348333" cy="532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88615" tIns="44308" rIns="44308" bIns="443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1786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Project 11</a:t>
            </a:r>
          </a:p>
        </p:txBody>
      </p:sp>
      <p:sp>
        <p:nvSpPr>
          <p:cNvPr id="204" name="Rectangle 57">
            <a:extLst>
              <a:ext uri="{FF2B5EF4-FFF2-40B4-BE49-F238E27FC236}">
                <a16:creationId xmlns:a16="http://schemas.microsoft.com/office/drawing/2014/main" id="{E53D70FE-8F8B-439C-A8F6-7F6BCCCF1BBC}"/>
              </a:ext>
            </a:extLst>
          </p:cNvPr>
          <p:cNvSpPr/>
          <p:nvPr/>
        </p:nvSpPr>
        <p:spPr>
          <a:xfrm>
            <a:off x="6360134" y="3859533"/>
            <a:ext cx="1348333" cy="532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88615" tIns="44308" rIns="44308" bIns="443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1786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Project 13</a:t>
            </a:r>
          </a:p>
        </p:txBody>
      </p:sp>
      <p:sp>
        <p:nvSpPr>
          <p:cNvPr id="205" name="Rectangle 83">
            <a:extLst>
              <a:ext uri="{FF2B5EF4-FFF2-40B4-BE49-F238E27FC236}">
                <a16:creationId xmlns:a16="http://schemas.microsoft.com/office/drawing/2014/main" id="{F176F9FC-159C-4283-AB6D-F29897E07E3C}"/>
              </a:ext>
            </a:extLst>
          </p:cNvPr>
          <p:cNvSpPr/>
          <p:nvPr/>
        </p:nvSpPr>
        <p:spPr>
          <a:xfrm>
            <a:off x="6360134" y="4440201"/>
            <a:ext cx="1348333" cy="532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88615" tIns="44308" rIns="44308" bIns="443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1786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Project 14</a:t>
            </a:r>
          </a:p>
        </p:txBody>
      </p:sp>
      <p:sp>
        <p:nvSpPr>
          <p:cNvPr id="206" name="Rectangle 96">
            <a:extLst>
              <a:ext uri="{FF2B5EF4-FFF2-40B4-BE49-F238E27FC236}">
                <a16:creationId xmlns:a16="http://schemas.microsoft.com/office/drawing/2014/main" id="{DFA26C3F-4878-4D6D-99AF-8913EE90F75F}"/>
              </a:ext>
            </a:extLst>
          </p:cNvPr>
          <p:cNvSpPr/>
          <p:nvPr/>
        </p:nvSpPr>
        <p:spPr>
          <a:xfrm>
            <a:off x="6347168" y="5020869"/>
            <a:ext cx="1348333" cy="532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88615" tIns="44308" rIns="44308" bIns="443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1786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Project 15</a:t>
            </a:r>
          </a:p>
        </p:txBody>
      </p:sp>
      <p:sp>
        <p:nvSpPr>
          <p:cNvPr id="207" name="Rectangle 154">
            <a:extLst>
              <a:ext uri="{FF2B5EF4-FFF2-40B4-BE49-F238E27FC236}">
                <a16:creationId xmlns:a16="http://schemas.microsoft.com/office/drawing/2014/main" id="{D32AFE2A-373A-4F9F-9191-F002C28EDC4A}"/>
              </a:ext>
            </a:extLst>
          </p:cNvPr>
          <p:cNvSpPr/>
          <p:nvPr/>
        </p:nvSpPr>
        <p:spPr>
          <a:xfrm>
            <a:off x="6360134" y="5601536"/>
            <a:ext cx="1348333" cy="532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88615" tIns="44308" rIns="44308" bIns="443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1786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Project 16</a:t>
            </a:r>
          </a:p>
        </p:txBody>
      </p:sp>
      <p:sp>
        <p:nvSpPr>
          <p:cNvPr id="208" name="Rectangle 167">
            <a:extLst>
              <a:ext uri="{FF2B5EF4-FFF2-40B4-BE49-F238E27FC236}">
                <a16:creationId xmlns:a16="http://schemas.microsoft.com/office/drawing/2014/main" id="{9D42E1E5-DE31-4DA9-B642-DA115B5FBBC2}"/>
              </a:ext>
            </a:extLst>
          </p:cNvPr>
          <p:cNvSpPr/>
          <p:nvPr/>
        </p:nvSpPr>
        <p:spPr>
          <a:xfrm>
            <a:off x="6360134" y="3278865"/>
            <a:ext cx="1348333" cy="532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88615" tIns="44308" rIns="44308" bIns="443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1786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Project 12</a:t>
            </a:r>
          </a:p>
        </p:txBody>
      </p:sp>
      <p:pic>
        <p:nvPicPr>
          <p:cNvPr id="209" name="Grafik 208">
            <a:extLst>
              <a:ext uri="{FF2B5EF4-FFF2-40B4-BE49-F238E27FC236}">
                <a16:creationId xmlns:a16="http://schemas.microsoft.com/office/drawing/2014/main" id="{8156C750-15D8-4EC5-BE8F-E136921E91BD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 rot="5400000">
            <a:off x="7640327" y="1702777"/>
            <a:ext cx="467879" cy="155959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pic>
        <p:nvPicPr>
          <p:cNvPr id="210" name="Grafik 209">
            <a:extLst>
              <a:ext uri="{FF2B5EF4-FFF2-40B4-BE49-F238E27FC236}">
                <a16:creationId xmlns:a16="http://schemas.microsoft.com/office/drawing/2014/main" id="{32E8A2F3-199C-4EC1-A29D-E0E359D9B13D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 rot="16200000">
            <a:off x="7962375" y="1698673"/>
            <a:ext cx="467879" cy="164167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pic>
        <p:nvPicPr>
          <p:cNvPr id="211" name="Grafik 210">
            <a:extLst>
              <a:ext uri="{FF2B5EF4-FFF2-40B4-BE49-F238E27FC236}">
                <a16:creationId xmlns:a16="http://schemas.microsoft.com/office/drawing/2014/main" id="{B85E08C6-E344-45D3-8865-F140B05F9AD6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 rot="5400000">
            <a:off x="8294534" y="1702777"/>
            <a:ext cx="467878" cy="155959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sp>
        <p:nvSpPr>
          <p:cNvPr id="212" name="Rechteck 211">
            <a:extLst>
              <a:ext uri="{FF2B5EF4-FFF2-40B4-BE49-F238E27FC236}">
                <a16:creationId xmlns:a16="http://schemas.microsoft.com/office/drawing/2014/main" id="{D5E0F0F5-D319-4674-AD04-BB33432F8875}"/>
              </a:ext>
            </a:extLst>
          </p:cNvPr>
          <p:cNvSpPr/>
          <p:nvPr/>
        </p:nvSpPr>
        <p:spPr bwMode="gray">
          <a:xfrm>
            <a:off x="8074009" y="1196752"/>
            <a:ext cx="252000" cy="252000"/>
          </a:xfrm>
          <a:prstGeom prst="rect">
            <a:avLst/>
          </a:prstGeom>
          <a:solidFill>
            <a:srgbClr val="00732D"/>
          </a:solidFill>
          <a:ln w="3175">
            <a:solidFill>
              <a:srgbClr val="0073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€</a:t>
            </a:r>
            <a:endParaRPr kumimoji="0" lang="en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3" name="Rechteck 212">
            <a:extLst>
              <a:ext uri="{FF2B5EF4-FFF2-40B4-BE49-F238E27FC236}">
                <a16:creationId xmlns:a16="http://schemas.microsoft.com/office/drawing/2014/main" id="{60EB7073-CB6D-4529-ADA7-28B464530343}"/>
              </a:ext>
            </a:extLst>
          </p:cNvPr>
          <p:cNvSpPr/>
          <p:nvPr/>
        </p:nvSpPr>
        <p:spPr bwMode="gray">
          <a:xfrm>
            <a:off x="8404864" y="1196752"/>
            <a:ext cx="252000" cy="252000"/>
          </a:xfrm>
          <a:prstGeom prst="rect">
            <a:avLst/>
          </a:prstGeom>
          <a:solidFill>
            <a:srgbClr val="00732D"/>
          </a:solidFill>
          <a:ln w="3175">
            <a:solidFill>
              <a:srgbClr val="0073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609C446E-2DA4-4707-B4B9-842307A6D7A3}"/>
              </a:ext>
            </a:extLst>
          </p:cNvPr>
          <p:cNvSpPr/>
          <p:nvPr/>
        </p:nvSpPr>
        <p:spPr bwMode="gray">
          <a:xfrm>
            <a:off x="7748468" y="1196752"/>
            <a:ext cx="252000" cy="252000"/>
          </a:xfrm>
          <a:prstGeom prst="rect">
            <a:avLst/>
          </a:prstGeom>
          <a:solidFill>
            <a:srgbClr val="00732D"/>
          </a:solidFill>
          <a:ln w="3175">
            <a:solidFill>
              <a:srgbClr val="0073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</a:t>
            </a:r>
            <a:endParaRPr kumimoji="0" lang="en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95D0BD29-B570-4135-8E4F-391A13312B2D}"/>
              </a:ext>
            </a:extLst>
          </p:cNvPr>
          <p:cNvSpPr/>
          <p:nvPr/>
        </p:nvSpPr>
        <p:spPr bwMode="gray">
          <a:xfrm>
            <a:off x="6360135" y="1196752"/>
            <a:ext cx="1350118" cy="252000"/>
          </a:xfrm>
          <a:prstGeom prst="rect">
            <a:avLst/>
          </a:prstGeom>
          <a:solidFill>
            <a:srgbClr val="00206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b Projects</a:t>
            </a:r>
            <a:endParaRPr kumimoji="0" lang="en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16" name="Google Shape;4015;p13">
            <a:extLst>
              <a:ext uri="{FF2B5EF4-FFF2-40B4-BE49-F238E27FC236}">
                <a16:creationId xmlns:a16="http://schemas.microsoft.com/office/drawing/2014/main" id="{0E7BB5C8-7E26-4C4A-AA42-847752B0398D}"/>
              </a:ext>
            </a:extLst>
          </p:cNvPr>
          <p:cNvGrpSpPr/>
          <p:nvPr/>
        </p:nvGrpSpPr>
        <p:grpSpPr>
          <a:xfrm>
            <a:off x="8440190" y="1227232"/>
            <a:ext cx="187011" cy="186053"/>
            <a:chOff x="6367" y="2707"/>
            <a:chExt cx="735" cy="735"/>
          </a:xfrm>
          <a:solidFill>
            <a:sysClr val="window" lastClr="FFFFFF"/>
          </a:solidFill>
        </p:grpSpPr>
        <p:sp>
          <p:nvSpPr>
            <p:cNvPr id="217" name="Google Shape;4016;p13">
              <a:extLst>
                <a:ext uri="{FF2B5EF4-FFF2-40B4-BE49-F238E27FC236}">
                  <a16:creationId xmlns:a16="http://schemas.microsoft.com/office/drawing/2014/main" id="{48DC1BF4-3B5E-465E-B598-A2E4531A87D1}"/>
                </a:ext>
              </a:extLst>
            </p:cNvPr>
            <p:cNvSpPr/>
            <p:nvPr/>
          </p:nvSpPr>
          <p:spPr>
            <a:xfrm>
              <a:off x="6367" y="2707"/>
              <a:ext cx="735" cy="735"/>
            </a:xfrm>
            <a:custGeom>
              <a:avLst/>
              <a:gdLst/>
              <a:ahLst/>
              <a:cxnLst/>
              <a:rect l="l" t="t" r="r" b="b"/>
              <a:pathLst>
                <a:path w="8267" h="8267" extrusionOk="0">
                  <a:moveTo>
                    <a:pt x="8133" y="3733"/>
                  </a:moveTo>
                  <a:lnTo>
                    <a:pt x="7845" y="3733"/>
                  </a:lnTo>
                  <a:cubicBezTo>
                    <a:pt x="7655" y="1989"/>
                    <a:pt x="6277" y="612"/>
                    <a:pt x="4533" y="421"/>
                  </a:cubicBezTo>
                  <a:lnTo>
                    <a:pt x="4533" y="133"/>
                  </a:lnTo>
                  <a:cubicBezTo>
                    <a:pt x="4533" y="60"/>
                    <a:pt x="4474" y="0"/>
                    <a:pt x="4400" y="0"/>
                  </a:cubicBezTo>
                  <a:lnTo>
                    <a:pt x="3867" y="0"/>
                  </a:lnTo>
                  <a:cubicBezTo>
                    <a:pt x="3793" y="0"/>
                    <a:pt x="3733" y="60"/>
                    <a:pt x="3733" y="133"/>
                  </a:cubicBezTo>
                  <a:lnTo>
                    <a:pt x="3733" y="421"/>
                  </a:lnTo>
                  <a:cubicBezTo>
                    <a:pt x="1989" y="612"/>
                    <a:pt x="612" y="1989"/>
                    <a:pt x="421" y="3733"/>
                  </a:cubicBezTo>
                  <a:lnTo>
                    <a:pt x="133" y="3733"/>
                  </a:lnTo>
                  <a:cubicBezTo>
                    <a:pt x="60" y="3733"/>
                    <a:pt x="0" y="3793"/>
                    <a:pt x="0" y="3867"/>
                  </a:cubicBezTo>
                  <a:lnTo>
                    <a:pt x="0" y="4400"/>
                  </a:lnTo>
                  <a:cubicBezTo>
                    <a:pt x="0" y="4474"/>
                    <a:pt x="60" y="4533"/>
                    <a:pt x="133" y="4533"/>
                  </a:cubicBezTo>
                  <a:lnTo>
                    <a:pt x="421" y="4533"/>
                  </a:lnTo>
                  <a:cubicBezTo>
                    <a:pt x="612" y="6277"/>
                    <a:pt x="1989" y="7655"/>
                    <a:pt x="3733" y="7845"/>
                  </a:cubicBezTo>
                  <a:lnTo>
                    <a:pt x="3733" y="8133"/>
                  </a:lnTo>
                  <a:cubicBezTo>
                    <a:pt x="3733" y="8207"/>
                    <a:pt x="3793" y="8267"/>
                    <a:pt x="3867" y="8267"/>
                  </a:cubicBezTo>
                  <a:lnTo>
                    <a:pt x="4400" y="8267"/>
                  </a:lnTo>
                  <a:cubicBezTo>
                    <a:pt x="4474" y="8267"/>
                    <a:pt x="4533" y="8207"/>
                    <a:pt x="4533" y="8133"/>
                  </a:cubicBezTo>
                  <a:lnTo>
                    <a:pt x="4533" y="7845"/>
                  </a:lnTo>
                  <a:cubicBezTo>
                    <a:pt x="6277" y="7655"/>
                    <a:pt x="7655" y="6277"/>
                    <a:pt x="7845" y="4533"/>
                  </a:cubicBezTo>
                  <a:lnTo>
                    <a:pt x="8133" y="4533"/>
                  </a:lnTo>
                  <a:cubicBezTo>
                    <a:pt x="8207" y="4533"/>
                    <a:pt x="8267" y="4474"/>
                    <a:pt x="8267" y="4400"/>
                  </a:cubicBezTo>
                  <a:lnTo>
                    <a:pt x="8267" y="3867"/>
                  </a:lnTo>
                  <a:cubicBezTo>
                    <a:pt x="8267" y="3793"/>
                    <a:pt x="8207" y="3733"/>
                    <a:pt x="8133" y="3733"/>
                  </a:cubicBezTo>
                  <a:close/>
                  <a:moveTo>
                    <a:pt x="4000" y="267"/>
                  </a:moveTo>
                  <a:lnTo>
                    <a:pt x="4267" y="267"/>
                  </a:lnTo>
                  <a:lnTo>
                    <a:pt x="4267" y="800"/>
                  </a:lnTo>
                  <a:lnTo>
                    <a:pt x="4000" y="800"/>
                  </a:lnTo>
                  <a:lnTo>
                    <a:pt x="4000" y="267"/>
                  </a:lnTo>
                  <a:close/>
                  <a:moveTo>
                    <a:pt x="267" y="4267"/>
                  </a:moveTo>
                  <a:lnTo>
                    <a:pt x="267" y="4000"/>
                  </a:lnTo>
                  <a:lnTo>
                    <a:pt x="800" y="4000"/>
                  </a:lnTo>
                  <a:lnTo>
                    <a:pt x="800" y="4267"/>
                  </a:lnTo>
                  <a:lnTo>
                    <a:pt x="267" y="4267"/>
                  </a:lnTo>
                  <a:close/>
                  <a:moveTo>
                    <a:pt x="4267" y="8000"/>
                  </a:moveTo>
                  <a:lnTo>
                    <a:pt x="4000" y="8000"/>
                  </a:lnTo>
                  <a:lnTo>
                    <a:pt x="4000" y="7467"/>
                  </a:lnTo>
                  <a:lnTo>
                    <a:pt x="4267" y="7467"/>
                  </a:lnTo>
                  <a:lnTo>
                    <a:pt x="4267" y="8000"/>
                  </a:lnTo>
                  <a:close/>
                  <a:moveTo>
                    <a:pt x="4533" y="7577"/>
                  </a:moveTo>
                  <a:lnTo>
                    <a:pt x="4533" y="7333"/>
                  </a:lnTo>
                  <a:cubicBezTo>
                    <a:pt x="4533" y="7260"/>
                    <a:pt x="4474" y="7200"/>
                    <a:pt x="4400" y="7200"/>
                  </a:cubicBezTo>
                  <a:lnTo>
                    <a:pt x="3867" y="7200"/>
                  </a:lnTo>
                  <a:cubicBezTo>
                    <a:pt x="3793" y="7200"/>
                    <a:pt x="3733" y="7260"/>
                    <a:pt x="3733" y="7333"/>
                  </a:cubicBezTo>
                  <a:lnTo>
                    <a:pt x="3733" y="7577"/>
                  </a:lnTo>
                  <a:cubicBezTo>
                    <a:pt x="2136" y="7390"/>
                    <a:pt x="877" y="6130"/>
                    <a:pt x="689" y="4533"/>
                  </a:cubicBezTo>
                  <a:lnTo>
                    <a:pt x="933" y="4533"/>
                  </a:lnTo>
                  <a:cubicBezTo>
                    <a:pt x="1007" y="4533"/>
                    <a:pt x="1067" y="4474"/>
                    <a:pt x="1067" y="4400"/>
                  </a:cubicBezTo>
                  <a:lnTo>
                    <a:pt x="1067" y="3867"/>
                  </a:lnTo>
                  <a:cubicBezTo>
                    <a:pt x="1067" y="3793"/>
                    <a:pt x="1007" y="3733"/>
                    <a:pt x="933" y="3733"/>
                  </a:cubicBezTo>
                  <a:lnTo>
                    <a:pt x="689" y="3733"/>
                  </a:lnTo>
                  <a:cubicBezTo>
                    <a:pt x="877" y="2136"/>
                    <a:pt x="2136" y="877"/>
                    <a:pt x="3733" y="689"/>
                  </a:cubicBezTo>
                  <a:lnTo>
                    <a:pt x="3733" y="933"/>
                  </a:lnTo>
                  <a:cubicBezTo>
                    <a:pt x="3733" y="1007"/>
                    <a:pt x="3793" y="1067"/>
                    <a:pt x="3867" y="1067"/>
                  </a:cubicBezTo>
                  <a:lnTo>
                    <a:pt x="4400" y="1067"/>
                  </a:lnTo>
                  <a:cubicBezTo>
                    <a:pt x="4474" y="1067"/>
                    <a:pt x="4533" y="1007"/>
                    <a:pt x="4533" y="933"/>
                  </a:cubicBezTo>
                  <a:lnTo>
                    <a:pt x="4533" y="689"/>
                  </a:lnTo>
                  <a:cubicBezTo>
                    <a:pt x="6130" y="877"/>
                    <a:pt x="7390" y="2136"/>
                    <a:pt x="7577" y="3733"/>
                  </a:cubicBezTo>
                  <a:lnTo>
                    <a:pt x="7333" y="3733"/>
                  </a:lnTo>
                  <a:cubicBezTo>
                    <a:pt x="7260" y="3733"/>
                    <a:pt x="7200" y="3793"/>
                    <a:pt x="7200" y="3867"/>
                  </a:cubicBezTo>
                  <a:lnTo>
                    <a:pt x="7200" y="4400"/>
                  </a:lnTo>
                  <a:cubicBezTo>
                    <a:pt x="7200" y="4474"/>
                    <a:pt x="7260" y="4533"/>
                    <a:pt x="7333" y="4533"/>
                  </a:cubicBezTo>
                  <a:lnTo>
                    <a:pt x="7577" y="4533"/>
                  </a:lnTo>
                  <a:cubicBezTo>
                    <a:pt x="7390" y="6130"/>
                    <a:pt x="6130" y="7390"/>
                    <a:pt x="4533" y="7577"/>
                  </a:cubicBezTo>
                  <a:close/>
                  <a:moveTo>
                    <a:pt x="8000" y="4267"/>
                  </a:moveTo>
                  <a:lnTo>
                    <a:pt x="7467" y="4267"/>
                  </a:lnTo>
                  <a:lnTo>
                    <a:pt x="7467" y="4000"/>
                  </a:lnTo>
                  <a:lnTo>
                    <a:pt x="8000" y="4000"/>
                  </a:lnTo>
                  <a:lnTo>
                    <a:pt x="8000" y="4267"/>
                  </a:lnTo>
                  <a:close/>
                  <a:moveTo>
                    <a:pt x="8000" y="4267"/>
                  </a:move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8" name="Google Shape;4017;p13">
              <a:extLst>
                <a:ext uri="{FF2B5EF4-FFF2-40B4-BE49-F238E27FC236}">
                  <a16:creationId xmlns:a16="http://schemas.microsoft.com/office/drawing/2014/main" id="{C988E89C-7638-435E-8149-76CB512B6C82}"/>
                </a:ext>
              </a:extLst>
            </p:cNvPr>
            <p:cNvSpPr/>
            <p:nvPr/>
          </p:nvSpPr>
          <p:spPr>
            <a:xfrm>
              <a:off x="6675" y="3015"/>
              <a:ext cx="119" cy="119"/>
            </a:xfrm>
            <a:custGeom>
              <a:avLst/>
              <a:gdLst/>
              <a:ahLst/>
              <a:cxnLst/>
              <a:rect l="l" t="t" r="r" b="b"/>
              <a:pathLst>
                <a:path w="1333" h="1333" extrusionOk="0">
                  <a:moveTo>
                    <a:pt x="666" y="0"/>
                  </a:moveTo>
                  <a:cubicBezTo>
                    <a:pt x="298" y="0"/>
                    <a:pt x="0" y="298"/>
                    <a:pt x="0" y="666"/>
                  </a:cubicBezTo>
                  <a:cubicBezTo>
                    <a:pt x="0" y="1034"/>
                    <a:pt x="298" y="1333"/>
                    <a:pt x="666" y="1333"/>
                  </a:cubicBezTo>
                  <a:cubicBezTo>
                    <a:pt x="1034" y="1333"/>
                    <a:pt x="1333" y="1034"/>
                    <a:pt x="1333" y="666"/>
                  </a:cubicBezTo>
                  <a:cubicBezTo>
                    <a:pt x="1333" y="298"/>
                    <a:pt x="1034" y="0"/>
                    <a:pt x="666" y="0"/>
                  </a:cubicBezTo>
                  <a:close/>
                  <a:moveTo>
                    <a:pt x="666" y="1066"/>
                  </a:moveTo>
                  <a:cubicBezTo>
                    <a:pt x="445" y="1066"/>
                    <a:pt x="266" y="887"/>
                    <a:pt x="266" y="666"/>
                  </a:cubicBezTo>
                  <a:cubicBezTo>
                    <a:pt x="266" y="445"/>
                    <a:pt x="445" y="266"/>
                    <a:pt x="666" y="266"/>
                  </a:cubicBezTo>
                  <a:cubicBezTo>
                    <a:pt x="887" y="266"/>
                    <a:pt x="1066" y="445"/>
                    <a:pt x="1066" y="666"/>
                  </a:cubicBezTo>
                  <a:cubicBezTo>
                    <a:pt x="1066" y="887"/>
                    <a:pt x="887" y="1066"/>
                    <a:pt x="666" y="1066"/>
                  </a:cubicBezTo>
                  <a:close/>
                  <a:moveTo>
                    <a:pt x="666" y="1066"/>
                  </a:move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9" name="Google Shape;4018;p13">
              <a:extLst>
                <a:ext uri="{FF2B5EF4-FFF2-40B4-BE49-F238E27FC236}">
                  <a16:creationId xmlns:a16="http://schemas.microsoft.com/office/drawing/2014/main" id="{EA74CD7E-0CE4-475A-9534-9EC719E5D149}"/>
                </a:ext>
              </a:extLst>
            </p:cNvPr>
            <p:cNvSpPr/>
            <p:nvPr/>
          </p:nvSpPr>
          <p:spPr>
            <a:xfrm>
              <a:off x="6521" y="2861"/>
              <a:ext cx="427" cy="427"/>
            </a:xfrm>
            <a:custGeom>
              <a:avLst/>
              <a:gdLst/>
              <a:ahLst/>
              <a:cxnLst/>
              <a:rect l="l" t="t" r="r" b="b"/>
              <a:pathLst>
                <a:path w="4800" h="4800" extrusionOk="0">
                  <a:moveTo>
                    <a:pt x="4667" y="2267"/>
                  </a:moveTo>
                  <a:lnTo>
                    <a:pt x="4395" y="2267"/>
                  </a:lnTo>
                  <a:cubicBezTo>
                    <a:pt x="4328" y="1268"/>
                    <a:pt x="3532" y="473"/>
                    <a:pt x="2534" y="406"/>
                  </a:cubicBezTo>
                  <a:lnTo>
                    <a:pt x="2534" y="134"/>
                  </a:lnTo>
                  <a:cubicBezTo>
                    <a:pt x="2534" y="60"/>
                    <a:pt x="2474" y="0"/>
                    <a:pt x="2400" y="0"/>
                  </a:cubicBezTo>
                  <a:cubicBezTo>
                    <a:pt x="2327" y="0"/>
                    <a:pt x="2267" y="60"/>
                    <a:pt x="2267" y="134"/>
                  </a:cubicBezTo>
                  <a:lnTo>
                    <a:pt x="2267" y="406"/>
                  </a:lnTo>
                  <a:cubicBezTo>
                    <a:pt x="1268" y="473"/>
                    <a:pt x="473" y="1268"/>
                    <a:pt x="406" y="2267"/>
                  </a:cubicBezTo>
                  <a:lnTo>
                    <a:pt x="134" y="2267"/>
                  </a:lnTo>
                  <a:cubicBezTo>
                    <a:pt x="60" y="2267"/>
                    <a:pt x="0" y="2327"/>
                    <a:pt x="0" y="2400"/>
                  </a:cubicBezTo>
                  <a:cubicBezTo>
                    <a:pt x="0" y="2474"/>
                    <a:pt x="60" y="2534"/>
                    <a:pt x="134" y="2534"/>
                  </a:cubicBezTo>
                  <a:lnTo>
                    <a:pt x="406" y="2534"/>
                  </a:lnTo>
                  <a:cubicBezTo>
                    <a:pt x="473" y="3532"/>
                    <a:pt x="1268" y="4328"/>
                    <a:pt x="2267" y="4395"/>
                  </a:cubicBezTo>
                  <a:lnTo>
                    <a:pt x="2267" y="4667"/>
                  </a:lnTo>
                  <a:cubicBezTo>
                    <a:pt x="2267" y="4741"/>
                    <a:pt x="2327" y="4800"/>
                    <a:pt x="2400" y="4800"/>
                  </a:cubicBezTo>
                  <a:cubicBezTo>
                    <a:pt x="2474" y="4800"/>
                    <a:pt x="2534" y="4741"/>
                    <a:pt x="2534" y="4667"/>
                  </a:cubicBezTo>
                  <a:lnTo>
                    <a:pt x="2534" y="4395"/>
                  </a:lnTo>
                  <a:cubicBezTo>
                    <a:pt x="3532" y="4328"/>
                    <a:pt x="4328" y="3532"/>
                    <a:pt x="4395" y="2534"/>
                  </a:cubicBezTo>
                  <a:lnTo>
                    <a:pt x="4667" y="2534"/>
                  </a:lnTo>
                  <a:cubicBezTo>
                    <a:pt x="4741" y="2534"/>
                    <a:pt x="4800" y="2474"/>
                    <a:pt x="4800" y="2400"/>
                  </a:cubicBezTo>
                  <a:cubicBezTo>
                    <a:pt x="4800" y="2327"/>
                    <a:pt x="4741" y="2267"/>
                    <a:pt x="4667" y="2267"/>
                  </a:cubicBezTo>
                  <a:close/>
                  <a:moveTo>
                    <a:pt x="2534" y="4128"/>
                  </a:moveTo>
                  <a:lnTo>
                    <a:pt x="2534" y="3867"/>
                  </a:lnTo>
                  <a:cubicBezTo>
                    <a:pt x="2534" y="3793"/>
                    <a:pt x="2474" y="3734"/>
                    <a:pt x="2400" y="3734"/>
                  </a:cubicBezTo>
                  <a:cubicBezTo>
                    <a:pt x="2327" y="3734"/>
                    <a:pt x="2267" y="3793"/>
                    <a:pt x="2267" y="3867"/>
                  </a:cubicBezTo>
                  <a:lnTo>
                    <a:pt x="2267" y="4128"/>
                  </a:lnTo>
                  <a:cubicBezTo>
                    <a:pt x="1415" y="4062"/>
                    <a:pt x="739" y="3385"/>
                    <a:pt x="674" y="2534"/>
                  </a:cubicBezTo>
                  <a:lnTo>
                    <a:pt x="934" y="2534"/>
                  </a:lnTo>
                  <a:cubicBezTo>
                    <a:pt x="1007" y="2534"/>
                    <a:pt x="1067" y="2474"/>
                    <a:pt x="1067" y="2400"/>
                  </a:cubicBezTo>
                  <a:cubicBezTo>
                    <a:pt x="1067" y="2327"/>
                    <a:pt x="1007" y="2267"/>
                    <a:pt x="934" y="2267"/>
                  </a:cubicBezTo>
                  <a:lnTo>
                    <a:pt x="674" y="2267"/>
                  </a:lnTo>
                  <a:cubicBezTo>
                    <a:pt x="739" y="1415"/>
                    <a:pt x="1415" y="739"/>
                    <a:pt x="2267" y="674"/>
                  </a:cubicBezTo>
                  <a:lnTo>
                    <a:pt x="2267" y="934"/>
                  </a:lnTo>
                  <a:cubicBezTo>
                    <a:pt x="2267" y="1007"/>
                    <a:pt x="2327" y="1067"/>
                    <a:pt x="2400" y="1067"/>
                  </a:cubicBezTo>
                  <a:cubicBezTo>
                    <a:pt x="2474" y="1067"/>
                    <a:pt x="2534" y="1007"/>
                    <a:pt x="2534" y="934"/>
                  </a:cubicBezTo>
                  <a:lnTo>
                    <a:pt x="2534" y="674"/>
                  </a:lnTo>
                  <a:cubicBezTo>
                    <a:pt x="3385" y="739"/>
                    <a:pt x="4062" y="1415"/>
                    <a:pt x="4128" y="2267"/>
                  </a:cubicBezTo>
                  <a:lnTo>
                    <a:pt x="3867" y="2267"/>
                  </a:lnTo>
                  <a:cubicBezTo>
                    <a:pt x="3793" y="2267"/>
                    <a:pt x="3734" y="2327"/>
                    <a:pt x="3734" y="2400"/>
                  </a:cubicBezTo>
                  <a:cubicBezTo>
                    <a:pt x="3734" y="2474"/>
                    <a:pt x="3793" y="2534"/>
                    <a:pt x="3867" y="2534"/>
                  </a:cubicBezTo>
                  <a:lnTo>
                    <a:pt x="4128" y="2534"/>
                  </a:lnTo>
                  <a:cubicBezTo>
                    <a:pt x="4062" y="3385"/>
                    <a:pt x="3385" y="4062"/>
                    <a:pt x="2534" y="4128"/>
                  </a:cubicBezTo>
                  <a:close/>
                  <a:moveTo>
                    <a:pt x="2534" y="4128"/>
                  </a:move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220" name="Grafik 219">
            <a:extLst>
              <a:ext uri="{FF2B5EF4-FFF2-40B4-BE49-F238E27FC236}">
                <a16:creationId xmlns:a16="http://schemas.microsoft.com/office/drawing/2014/main" id="{79575A07-2FF9-48B2-93D3-09FE7E48F68B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 rot="5400000">
            <a:off x="7640327" y="2287031"/>
            <a:ext cx="467879" cy="155959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pic>
        <p:nvPicPr>
          <p:cNvPr id="221" name="Grafik 220">
            <a:extLst>
              <a:ext uri="{FF2B5EF4-FFF2-40B4-BE49-F238E27FC236}">
                <a16:creationId xmlns:a16="http://schemas.microsoft.com/office/drawing/2014/main" id="{76DFD698-0DF1-47C1-9BDB-4652FA5F8FA7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 rot="16200000">
            <a:off x="7962375" y="2282928"/>
            <a:ext cx="467879" cy="164167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pic>
        <p:nvPicPr>
          <p:cNvPr id="222" name="Grafik 221">
            <a:extLst>
              <a:ext uri="{FF2B5EF4-FFF2-40B4-BE49-F238E27FC236}">
                <a16:creationId xmlns:a16="http://schemas.microsoft.com/office/drawing/2014/main" id="{1A84B06A-0B3F-4165-B6D8-1E638CED7680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 rot="5400000">
            <a:off x="8294534" y="2287031"/>
            <a:ext cx="467878" cy="155959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pic>
        <p:nvPicPr>
          <p:cNvPr id="223" name="Grafik 222">
            <a:extLst>
              <a:ext uri="{FF2B5EF4-FFF2-40B4-BE49-F238E27FC236}">
                <a16:creationId xmlns:a16="http://schemas.microsoft.com/office/drawing/2014/main" id="{B6BB6766-C7A7-4B1F-A75E-1EBCF4C7AD6C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 rot="5400000">
            <a:off x="7640327" y="2871285"/>
            <a:ext cx="467879" cy="155959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pic>
        <p:nvPicPr>
          <p:cNvPr id="224" name="Grafik 223">
            <a:extLst>
              <a:ext uri="{FF2B5EF4-FFF2-40B4-BE49-F238E27FC236}">
                <a16:creationId xmlns:a16="http://schemas.microsoft.com/office/drawing/2014/main" id="{FBE80897-DE5A-42CF-8B52-D94D9102AA1F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 rot="16200000">
            <a:off x="7962375" y="2867182"/>
            <a:ext cx="467879" cy="164167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pic>
        <p:nvPicPr>
          <p:cNvPr id="225" name="Grafik 224">
            <a:extLst>
              <a:ext uri="{FF2B5EF4-FFF2-40B4-BE49-F238E27FC236}">
                <a16:creationId xmlns:a16="http://schemas.microsoft.com/office/drawing/2014/main" id="{3B27162D-CB82-4CA5-A996-3ACE4E772E1A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 rot="5400000">
            <a:off x="8294534" y="2871285"/>
            <a:ext cx="467878" cy="155959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pic>
        <p:nvPicPr>
          <p:cNvPr id="226" name="Grafik 225">
            <a:extLst>
              <a:ext uri="{FF2B5EF4-FFF2-40B4-BE49-F238E27FC236}">
                <a16:creationId xmlns:a16="http://schemas.microsoft.com/office/drawing/2014/main" id="{7D8B3FF8-457A-4E23-ABA7-2088DD575144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 rot="5400000">
            <a:off x="7640327" y="3455539"/>
            <a:ext cx="467879" cy="155959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pic>
        <p:nvPicPr>
          <p:cNvPr id="227" name="Grafik 226">
            <a:extLst>
              <a:ext uri="{FF2B5EF4-FFF2-40B4-BE49-F238E27FC236}">
                <a16:creationId xmlns:a16="http://schemas.microsoft.com/office/drawing/2014/main" id="{B0AD3240-2809-49CC-B994-E8B2BDD3D915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 rot="16200000">
            <a:off x="7962375" y="3451436"/>
            <a:ext cx="467879" cy="164167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pic>
        <p:nvPicPr>
          <p:cNvPr id="228" name="Grafik 227">
            <a:extLst>
              <a:ext uri="{FF2B5EF4-FFF2-40B4-BE49-F238E27FC236}">
                <a16:creationId xmlns:a16="http://schemas.microsoft.com/office/drawing/2014/main" id="{58EE5193-6FC4-40E4-B44C-A2D4F0CC2379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 rot="5400000">
            <a:off x="8294534" y="3455539"/>
            <a:ext cx="467878" cy="155959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pic>
        <p:nvPicPr>
          <p:cNvPr id="229" name="Grafik 228">
            <a:extLst>
              <a:ext uri="{FF2B5EF4-FFF2-40B4-BE49-F238E27FC236}">
                <a16:creationId xmlns:a16="http://schemas.microsoft.com/office/drawing/2014/main" id="{61D70652-D5C3-4B8A-B5B2-699643F5241B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 rot="5400000">
            <a:off x="7640327" y="4039793"/>
            <a:ext cx="467879" cy="155959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pic>
        <p:nvPicPr>
          <p:cNvPr id="230" name="Grafik 229">
            <a:extLst>
              <a:ext uri="{FF2B5EF4-FFF2-40B4-BE49-F238E27FC236}">
                <a16:creationId xmlns:a16="http://schemas.microsoft.com/office/drawing/2014/main" id="{B8D8422F-2BF1-4C5F-BE31-AE699687A8E6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 rot="16200000">
            <a:off x="7962375" y="4035689"/>
            <a:ext cx="467879" cy="164167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pic>
        <p:nvPicPr>
          <p:cNvPr id="231" name="Grafik 230">
            <a:extLst>
              <a:ext uri="{FF2B5EF4-FFF2-40B4-BE49-F238E27FC236}">
                <a16:creationId xmlns:a16="http://schemas.microsoft.com/office/drawing/2014/main" id="{B7D7EFF2-BB4A-4470-9C40-CE38F4CCAD12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 rot="5400000">
            <a:off x="8294534" y="4039793"/>
            <a:ext cx="467878" cy="155959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pic>
        <p:nvPicPr>
          <p:cNvPr id="232" name="Grafik 231">
            <a:extLst>
              <a:ext uri="{FF2B5EF4-FFF2-40B4-BE49-F238E27FC236}">
                <a16:creationId xmlns:a16="http://schemas.microsoft.com/office/drawing/2014/main" id="{4D114885-7372-406C-9CFD-8B459D5C1200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 rot="5400000">
            <a:off x="7640327" y="4624047"/>
            <a:ext cx="467879" cy="155959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pic>
        <p:nvPicPr>
          <p:cNvPr id="233" name="Grafik 232">
            <a:extLst>
              <a:ext uri="{FF2B5EF4-FFF2-40B4-BE49-F238E27FC236}">
                <a16:creationId xmlns:a16="http://schemas.microsoft.com/office/drawing/2014/main" id="{26A21819-57FB-4D5C-B46A-4744DD941243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 rot="16200000">
            <a:off x="7962375" y="4619943"/>
            <a:ext cx="467879" cy="164167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pic>
        <p:nvPicPr>
          <p:cNvPr id="234" name="Grafik 233">
            <a:extLst>
              <a:ext uri="{FF2B5EF4-FFF2-40B4-BE49-F238E27FC236}">
                <a16:creationId xmlns:a16="http://schemas.microsoft.com/office/drawing/2014/main" id="{37C98C3F-F275-4792-93F6-B9FDD659751F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 rot="5400000">
            <a:off x="8294534" y="4624047"/>
            <a:ext cx="467878" cy="155959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pic>
        <p:nvPicPr>
          <p:cNvPr id="235" name="Grafik 234">
            <a:extLst>
              <a:ext uri="{FF2B5EF4-FFF2-40B4-BE49-F238E27FC236}">
                <a16:creationId xmlns:a16="http://schemas.microsoft.com/office/drawing/2014/main" id="{D12E89C8-AE2E-441B-8633-BBA8EC90340E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 rot="5400000">
            <a:off x="7640327" y="5208301"/>
            <a:ext cx="467879" cy="155959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pic>
        <p:nvPicPr>
          <p:cNvPr id="236" name="Grafik 235">
            <a:extLst>
              <a:ext uri="{FF2B5EF4-FFF2-40B4-BE49-F238E27FC236}">
                <a16:creationId xmlns:a16="http://schemas.microsoft.com/office/drawing/2014/main" id="{122225D5-73EE-4B40-B667-62C2BDE09084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 rot="16200000">
            <a:off x="7962375" y="5204197"/>
            <a:ext cx="467879" cy="164167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pic>
        <p:nvPicPr>
          <p:cNvPr id="237" name="Grafik 236">
            <a:extLst>
              <a:ext uri="{FF2B5EF4-FFF2-40B4-BE49-F238E27FC236}">
                <a16:creationId xmlns:a16="http://schemas.microsoft.com/office/drawing/2014/main" id="{D20CDAAD-5180-413D-817B-65A8AD4BB842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 rot="5400000">
            <a:off x="8294534" y="5208301"/>
            <a:ext cx="467878" cy="155959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pic>
        <p:nvPicPr>
          <p:cNvPr id="238" name="Grafik 237">
            <a:extLst>
              <a:ext uri="{FF2B5EF4-FFF2-40B4-BE49-F238E27FC236}">
                <a16:creationId xmlns:a16="http://schemas.microsoft.com/office/drawing/2014/main" id="{D31B25FB-BE41-4A22-BA55-9C41ADA9076D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 rot="5400000">
            <a:off x="7640327" y="5792556"/>
            <a:ext cx="467879" cy="155959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pic>
        <p:nvPicPr>
          <p:cNvPr id="239" name="Grafik 238">
            <a:extLst>
              <a:ext uri="{FF2B5EF4-FFF2-40B4-BE49-F238E27FC236}">
                <a16:creationId xmlns:a16="http://schemas.microsoft.com/office/drawing/2014/main" id="{7CDDEAD6-757C-46D9-86FA-FE815D675A7C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 rot="16200000">
            <a:off x="7962375" y="5788452"/>
            <a:ext cx="467879" cy="164167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pic>
        <p:nvPicPr>
          <p:cNvPr id="240" name="Grafik 239">
            <a:extLst>
              <a:ext uri="{FF2B5EF4-FFF2-40B4-BE49-F238E27FC236}">
                <a16:creationId xmlns:a16="http://schemas.microsoft.com/office/drawing/2014/main" id="{B1D311EE-E633-47B4-97D7-8876802C874C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 rot="5400000">
            <a:off x="8294534" y="5792556"/>
            <a:ext cx="467878" cy="155959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</p:pic>
      <p:sp>
        <p:nvSpPr>
          <p:cNvPr id="241" name="Rectangle 110">
            <a:extLst>
              <a:ext uri="{FF2B5EF4-FFF2-40B4-BE49-F238E27FC236}">
                <a16:creationId xmlns:a16="http://schemas.microsoft.com/office/drawing/2014/main" id="{6EB35069-DF26-48EC-90AE-54F425C8D6ED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735659" y="2130369"/>
            <a:ext cx="3001567" cy="532800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>
                <a:lumMod val="75000"/>
              </a:srgbClr>
            </a:solidFill>
            <a:miter lim="800000"/>
            <a:headEnd/>
            <a:tailEnd/>
          </a:ln>
        </p:spPr>
        <p:txBody>
          <a:bodyPr lIns="88615" tIns="36000" rIns="36000" bIns="36000" numCol="1" anchor="ctr"/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207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Current activities</a:t>
            </a:r>
          </a:p>
          <a:p>
            <a:pPr marL="207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Next steps</a:t>
            </a:r>
            <a:endParaRPr kumimoji="0" lang="de-DE" altLang="en-US" sz="10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2" name="Rectangle 110">
            <a:extLst>
              <a:ext uri="{FF2B5EF4-FFF2-40B4-BE49-F238E27FC236}">
                <a16:creationId xmlns:a16="http://schemas.microsoft.com/office/drawing/2014/main" id="{61E2FB3A-A79C-4B39-829A-EF653657CAFA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735660" y="2713271"/>
            <a:ext cx="3001567" cy="532800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>
                <a:lumMod val="75000"/>
              </a:srgbClr>
            </a:solidFill>
            <a:miter lim="800000"/>
            <a:headEnd/>
            <a:tailEnd/>
          </a:ln>
        </p:spPr>
        <p:txBody>
          <a:bodyPr lIns="88615" tIns="36000" rIns="36000" bIns="36000" numCol="1" anchor="ctr"/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207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Current activities</a:t>
            </a:r>
          </a:p>
          <a:p>
            <a:pPr marL="207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Next steps</a:t>
            </a:r>
            <a:endParaRPr kumimoji="0" lang="de-DE" altLang="en-US" sz="10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3" name="Rectangle 110">
            <a:extLst>
              <a:ext uri="{FF2B5EF4-FFF2-40B4-BE49-F238E27FC236}">
                <a16:creationId xmlns:a16="http://schemas.microsoft.com/office/drawing/2014/main" id="{DC26FC39-23CD-40CF-97BD-B3A14AD15311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8735660" y="3311635"/>
            <a:ext cx="3001567" cy="532800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>
                <a:lumMod val="75000"/>
              </a:srgbClr>
            </a:solidFill>
            <a:miter lim="800000"/>
            <a:headEnd/>
            <a:tailEnd/>
          </a:ln>
        </p:spPr>
        <p:txBody>
          <a:bodyPr lIns="88615" tIns="36000" rIns="36000" bIns="36000" numCol="1" anchor="ctr"/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207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Current activities</a:t>
            </a:r>
          </a:p>
          <a:p>
            <a:pPr marL="207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Next steps</a:t>
            </a:r>
            <a:endParaRPr kumimoji="0" lang="de-DE" altLang="en-US" sz="10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4" name="Rectangle 110">
            <a:extLst>
              <a:ext uri="{FF2B5EF4-FFF2-40B4-BE49-F238E27FC236}">
                <a16:creationId xmlns:a16="http://schemas.microsoft.com/office/drawing/2014/main" id="{6B5EC54A-D5C7-4208-9DDD-396F0DE68294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8735660" y="3910073"/>
            <a:ext cx="3001567" cy="532800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>
                <a:lumMod val="75000"/>
              </a:srgbClr>
            </a:solidFill>
            <a:miter lim="800000"/>
            <a:headEnd/>
            <a:tailEnd/>
          </a:ln>
        </p:spPr>
        <p:txBody>
          <a:bodyPr lIns="88615" tIns="36000" rIns="36000" bIns="36000" numCol="1" anchor="ctr"/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207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Current activities</a:t>
            </a:r>
          </a:p>
          <a:p>
            <a:pPr marL="207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Next steps</a:t>
            </a:r>
            <a:endParaRPr kumimoji="0" lang="de-DE" altLang="en-US" sz="10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5" name="Rectangle 110">
            <a:extLst>
              <a:ext uri="{FF2B5EF4-FFF2-40B4-BE49-F238E27FC236}">
                <a16:creationId xmlns:a16="http://schemas.microsoft.com/office/drawing/2014/main" id="{C574C847-71CF-403A-B8BE-9332A410BE0E}"/>
              </a:ext>
            </a:extLst>
          </p:cNvPr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735660" y="4485944"/>
            <a:ext cx="3001567" cy="532800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>
                <a:lumMod val="75000"/>
              </a:srgbClr>
            </a:solidFill>
            <a:miter lim="800000"/>
            <a:headEnd/>
            <a:tailEnd/>
          </a:ln>
        </p:spPr>
        <p:txBody>
          <a:bodyPr lIns="88615" tIns="36000" rIns="36000" bIns="36000" numCol="1" anchor="ctr"/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207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Current activities</a:t>
            </a:r>
          </a:p>
          <a:p>
            <a:pPr marL="207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Next steps</a:t>
            </a:r>
            <a:endParaRPr kumimoji="0" lang="de-DE" altLang="en-US" sz="10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6" name="Rectangle 110">
            <a:extLst>
              <a:ext uri="{FF2B5EF4-FFF2-40B4-BE49-F238E27FC236}">
                <a16:creationId xmlns:a16="http://schemas.microsoft.com/office/drawing/2014/main" id="{CE819EE7-D3A9-418B-BA8E-41A66A1EC102}"/>
              </a:ext>
            </a:extLst>
          </p:cNvPr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8735660" y="5055055"/>
            <a:ext cx="3001567" cy="532800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>
                <a:lumMod val="75000"/>
              </a:srgbClr>
            </a:solidFill>
            <a:miter lim="800000"/>
            <a:headEnd/>
            <a:tailEnd/>
          </a:ln>
        </p:spPr>
        <p:txBody>
          <a:bodyPr lIns="88615" tIns="36000" rIns="36000" bIns="36000" numCol="1" anchor="ctr"/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207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Current activities</a:t>
            </a:r>
          </a:p>
          <a:p>
            <a:pPr marL="207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Next steps</a:t>
            </a:r>
            <a:endParaRPr kumimoji="0" lang="de-DE" altLang="en-US" sz="10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7" name="Rectangle 110">
            <a:extLst>
              <a:ext uri="{FF2B5EF4-FFF2-40B4-BE49-F238E27FC236}">
                <a16:creationId xmlns:a16="http://schemas.microsoft.com/office/drawing/2014/main" id="{1F2515E7-D6B9-49F3-94C5-119CDC6EE990}"/>
              </a:ext>
            </a:extLst>
          </p:cNvPr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8735660" y="5620188"/>
            <a:ext cx="3001567" cy="532800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>
                <a:lumMod val="75000"/>
              </a:srgbClr>
            </a:solidFill>
            <a:miter lim="800000"/>
            <a:headEnd/>
            <a:tailEnd/>
          </a:ln>
        </p:spPr>
        <p:txBody>
          <a:bodyPr lIns="88615" tIns="36000" rIns="36000" bIns="36000" numCol="1" anchor="ctr"/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207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Current activities</a:t>
            </a:r>
          </a:p>
          <a:p>
            <a:pPr marL="207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Next steps</a:t>
            </a:r>
            <a:endParaRPr kumimoji="0" lang="de-DE" altLang="en-US" sz="10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44033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pgvvZbNQ9y68pSCQRDN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YXuQJ7SEKyg8x4OaFHD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YXuQJ7SEKyg8x4OaFHD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YXuQJ7SEKyg8x4OaFHD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YXuQJ7SEKyg8x4OaFHD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YXuQJ7SEKyg8x4OaFHD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YXuQJ7SEKyg8x4OaFHD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YXuQJ7SEKyg8x4OaFHD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YXuQJ7SEKyg8x4OaFHD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YXuQJ7SEKyg8x4OaFH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YXuQJ7SEKyg8x4OaFHD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YXuQJ7SEKyg8x4OaFHD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YXuQJ7SEKyg8x4OaFHD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YXuQJ7SEKyg8x4OaFHD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YXuQJ7SEKyg8x4OaFHD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YXuQJ7SEKyg8x4OaFHD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YXuQJ7SEKyg8x4OaFH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H_PowerPoint Master">
  <a:themeElements>
    <a:clrScheme name="Orange">
      <a:dk1>
        <a:srgbClr val="000000"/>
      </a:dk1>
      <a:lt1>
        <a:sysClr val="window" lastClr="FFFFFF"/>
      </a:lt1>
      <a:dk2>
        <a:srgbClr val="637052"/>
      </a:dk2>
      <a:lt2>
        <a:srgbClr val="CCDDEA"/>
      </a:lt2>
      <a:accent1>
        <a:srgbClr val="E48312"/>
      </a:accent1>
      <a:accent2>
        <a:srgbClr val="BD582C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Sonepa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2"/>
        </a:solidFill>
        <a:ln w="635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8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rgbClr val="3CA01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000" indent="-180000">
          <a:buClr>
            <a:schemeClr val="accent2"/>
          </a:buClr>
          <a:buFont typeface="Wingdings" panose="05000000000000000000" pitchFamily="2" charset="2"/>
          <a:buChar char="§"/>
          <a:defRPr sz="1800" dirty="0" err="1" smtClean="0"/>
        </a:defPPr>
      </a:lstStyle>
    </a:txDef>
  </a:objectDefaults>
  <a:extraClrSchemeLst/>
  <a:custClrLst>
    <a:custClr name="M+H Green">
      <a:srgbClr val="00732D"/>
    </a:custClr>
    <a:custClr name="M+H Light-green">
      <a:srgbClr val="3CA014"/>
    </a:custClr>
    <a:custClr name="M+H Orange">
      <a:srgbClr val="EB690F"/>
    </a:custClr>
    <a:custClr name="M+H Red">
      <a:srgbClr val="BE001E"/>
    </a:custClr>
    <a:custClr name="Black">
      <a:srgbClr val="000000"/>
    </a:custClr>
    <a:custClr name="Grey">
      <a:srgbClr val="66666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80% M+H Green">
      <a:srgbClr val="358F5C"/>
    </a:custClr>
    <a:custClr name="80% M+H Light-green">
      <a:srgbClr val="63B343"/>
    </a:custClr>
    <a:custClr name="80% M+H Orange">
      <a:srgbClr val="EF873F"/>
    </a:custClr>
    <a:custClr name="80% M+H Red">
      <a:srgbClr val="CB334B"/>
    </a:custClr>
    <a:custClr name="80% Black">
      <a:srgbClr val="333333"/>
    </a:custClr>
    <a:custClr name="80% Grey">
      <a:srgbClr val="858585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60% M+H Green">
      <a:srgbClr val="67AB85"/>
    </a:custClr>
    <a:custClr name="60% M+H Light-green">
      <a:srgbClr val="8AC672"/>
    </a:custClr>
    <a:custClr name="60% M+H Orange">
      <a:srgbClr val="F3A56F"/>
    </a:custClr>
    <a:custClr name="60% M+H Red">
      <a:srgbClr val="D86978"/>
    </a:custClr>
    <a:custClr name="60% Black">
      <a:srgbClr val="666666"/>
    </a:custClr>
    <a:custClr name="60% Grey">
      <a:srgbClr val="A3A3A3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40% M+H Green">
      <a:srgbClr val="9AC7AE"/>
    </a:custClr>
    <a:custClr name="40% M+H Light-green">
      <a:srgbClr val="B1D9A1"/>
    </a:custClr>
    <a:custClr name="40% M+H Orange">
      <a:srgbClr val="F7C39F"/>
    </a:custClr>
    <a:custClr name="40% M+H Red">
      <a:srgbClr val="E599A5"/>
    </a:custClr>
    <a:custClr name="40% Black">
      <a:srgbClr val="999999"/>
    </a:custClr>
    <a:custClr name="40% Grey">
      <a:srgbClr val="C2C2C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20% M+H Green">
      <a:srgbClr val="CCE3D6"/>
    </a:custClr>
    <a:custClr name="20% M+H Light-green">
      <a:srgbClr val="D8ECD0"/>
    </a:custClr>
    <a:custClr name="20% M+H Orange">
      <a:srgbClr val="FBE1CF"/>
    </a:custClr>
    <a:custClr name="20% M+H Red">
      <a:srgbClr val="F2CCD2"/>
    </a:custClr>
    <a:custClr name="20% Black">
      <a:srgbClr val="CCCCCC"/>
    </a:custClr>
    <a:custClr name="20% Grey">
      <a:srgbClr val="E0E0E0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MH.pptx" id="{07A94DDE-5B6A-47C2-8B0A-2B2660A1F5E4}" vid="{78C34495-9072-48A6-B75D-10420CD1D5C1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7</Words>
  <Application>Microsoft Office PowerPoint</Application>
  <PresentationFormat>Breitbild</PresentationFormat>
  <Paragraphs>70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</vt:i4>
      </vt:variant>
    </vt:vector>
  </HeadingPairs>
  <TitlesOfParts>
    <vt:vector size="9" baseType="lpstr">
      <vt:lpstr>Arial</vt:lpstr>
      <vt:lpstr>Monotype Sorts</vt:lpstr>
      <vt:lpstr>Symbol</vt:lpstr>
      <vt:lpstr>Verdana</vt:lpstr>
      <vt:lpstr>Wingdings</vt:lpstr>
      <vt:lpstr>MH_PowerPoint Master</vt:lpstr>
      <vt:lpstr>think-cell Slide</vt:lpstr>
      <vt:lpstr>think-cell Folie</vt:lpstr>
      <vt:lpstr>Program Status Repor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gram Status Report</dc:title>
  <dc:creator>Nina</dc:creator>
  <cp:lastModifiedBy>Nina</cp:lastModifiedBy>
  <cp:revision>1</cp:revision>
  <dcterms:created xsi:type="dcterms:W3CDTF">2021-11-11T06:06:46Z</dcterms:created>
  <dcterms:modified xsi:type="dcterms:W3CDTF">2021-11-11T06:08:02Z</dcterms:modified>
</cp:coreProperties>
</file>